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695" r:id="rId2"/>
  </p:sldMasterIdLst>
  <p:notesMasterIdLst>
    <p:notesMasterId r:id="rId19"/>
  </p:notesMasterIdLst>
  <p:sldIdLst>
    <p:sldId id="300" r:id="rId3"/>
    <p:sldId id="303" r:id="rId4"/>
    <p:sldId id="258" r:id="rId5"/>
    <p:sldId id="305" r:id="rId6"/>
    <p:sldId id="306" r:id="rId7"/>
    <p:sldId id="307" r:id="rId8"/>
    <p:sldId id="304" r:id="rId9"/>
    <p:sldId id="292" r:id="rId10"/>
    <p:sldId id="308" r:id="rId11"/>
    <p:sldId id="295" r:id="rId12"/>
    <p:sldId id="309" r:id="rId13"/>
    <p:sldId id="314" r:id="rId14"/>
    <p:sldId id="311" r:id="rId15"/>
    <p:sldId id="315" r:id="rId16"/>
    <p:sldId id="272" r:id="rId17"/>
    <p:sldId id="285" r:id="rId18"/>
  </p:sldIdLst>
  <p:sldSz cx="12192000" cy="6858000"/>
  <p:notesSz cx="7010400" cy="92964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znieks, Haralds" initials="RH" lastIdx="0" clrIdx="0">
    <p:extLst/>
  </p:cmAuthor>
  <p:cmAuthor id="2" name="King, Dominic" initials="KD" lastIdx="0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419" autoAdjust="0"/>
    <p:restoredTop sz="86453" autoAdjust="0"/>
  </p:normalViewPr>
  <p:slideViewPr>
    <p:cSldViewPr snapToGrid="0">
      <p:cViewPr>
        <p:scale>
          <a:sx n="107" d="100"/>
          <a:sy n="107" d="100"/>
        </p:scale>
        <p:origin x="-468" y="-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6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 - for men and women </c:v>
                </c:pt>
              </c:strCache>
            </c:strRef>
          </c:tx>
          <c:spPr>
            <a:solidFill>
              <a:srgbClr val="7E00FF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 smtId="4294967295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ll women</c:v>
                </c:pt>
                <c:pt idx="1">
                  <c:v>Fast-track women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8.2872928176795604E-2</c:v>
                </c:pt>
                <c:pt idx="1">
                  <c:v>0.1406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05-4152-AD98-877D9E2F60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es - women only</c:v>
                </c:pt>
              </c:strCache>
            </c:strRef>
          </c:tx>
          <c:spPr>
            <a:solidFill>
              <a:srgbClr val="FF9128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 smtId="4294967295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ll women</c:v>
                </c:pt>
                <c:pt idx="1">
                  <c:v>Fast-track women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3.7292817679557999E-2</c:v>
                </c:pt>
                <c:pt idx="1">
                  <c:v>7.0312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805-4152-AD98-877D9E2F60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 - I choose not t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ll women</c:v>
                </c:pt>
                <c:pt idx="1">
                  <c:v>Fast-track women</c:v>
                </c:pt>
              </c:strCache>
            </c:strRef>
          </c:cat>
          <c:val>
            <c:numRef>
              <c:f>Sheet1!$D$2:$D$3</c:f>
              <c:numCache>
                <c:formatCode>0.00%</c:formatCode>
                <c:ptCount val="2"/>
                <c:pt idx="0">
                  <c:v>7.3204419889502798E-2</c:v>
                </c:pt>
                <c:pt idx="1">
                  <c:v>0.10156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805-4152-AD98-877D9E2F60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 - none exist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ll women</c:v>
                </c:pt>
                <c:pt idx="1">
                  <c:v>Fast-track women</c:v>
                </c:pt>
              </c:strCache>
            </c:strRef>
          </c:cat>
          <c:val>
            <c:numRef>
              <c:f>Sheet1!$E$2:$E$3</c:f>
              <c:numCache>
                <c:formatCode>0.00%</c:formatCode>
                <c:ptCount val="2"/>
                <c:pt idx="0">
                  <c:v>0.80662983425414403</c:v>
                </c:pt>
                <c:pt idx="1">
                  <c:v>0.6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A805-4152-AD98-877D9E2F60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4280320"/>
        <c:axId val="154281856"/>
      </c:barChart>
      <c:catAx>
        <c:axId val="1542803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4281856"/>
        <c:crosses val="autoZero"/>
        <c:auto val="0"/>
        <c:lblAlgn val="ctr"/>
        <c:lblOffset val="100"/>
        <c:noMultiLvlLbl val="0"/>
      </c:catAx>
      <c:valAx>
        <c:axId val="1542818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54280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 smtId="4294967295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63245177268982E-2"/>
          <c:y val="1.4318834058940411E-2"/>
          <c:w val="0.98090064525604248"/>
          <c:h val="0.84904140233993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 male senior leadership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nited States</c:v>
                </c:pt>
              </c:strCache>
            </c:strRef>
          </c:cat>
          <c:val>
            <c:numRef>
              <c:f>Sheet1!$B$2</c:f>
              <c:numCache>
                <c:formatCode>0.00%</c:formatCode>
                <c:ptCount val="1"/>
                <c:pt idx="0">
                  <c:v>0.148648648648648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6EF-4C8B-BE1A-DAD72B188FB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t least one woman in senior leadershi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United States</c:v>
                </c:pt>
              </c:strCache>
            </c:strRef>
          </c:cat>
          <c:val>
            <c:numRef>
              <c:f>Sheet1!$C$2</c:f>
              <c:numCache>
                <c:formatCode>0.00%</c:formatCode>
                <c:ptCount val="1"/>
                <c:pt idx="0">
                  <c:v>0.18370607028753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6EF-4C8B-BE1A-DAD72B188F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4516864"/>
        <c:axId val="154522752"/>
      </c:barChart>
      <c:catAx>
        <c:axId val="15451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522752"/>
        <c:crosses val="autoZero"/>
        <c:auto val="0"/>
        <c:lblAlgn val="ctr"/>
        <c:lblOffset val="100"/>
        <c:noMultiLvlLbl val="0"/>
      </c:catAx>
      <c:valAx>
        <c:axId val="15452275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5451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708948254585266"/>
          <c:y val="0.90907210111618042"/>
          <c:w val="0.68084269762039185"/>
          <c:h val="6.99992477893829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54483F2-F933-430B-BF10-D592E0377BD9}" type="datetimeFigureOut">
              <a:rPr lang="pl-PL" smtClean="0"/>
              <a:t>08.03.2018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1372144-4C54-4412-B80D-0C713CB1A017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586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enture announced today, June 14, 2017, that it will achieve a gender-balanced workforce, with 50 percent women and 50 percent men, by 2025.  This is a big undertaking, and we have done research that we highlight each International Women’s Day to demonstrate how we might achieve these goals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177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71782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r>
              <a:rPr lang="pl-PL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ited States DEMOGRAPHICS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auto" latinLnBrk="0" hangingPunct="1"/>
            <a:r>
              <a:rPr lang="pl-PL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10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auto" latinLnBrk="0" hangingPunct="1"/>
            <a:r>
              <a:rPr lang="pl-PL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724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01804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A1CE7D-55FD-488C-B905-510927CE923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0307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part of our work, we invest in very young to get Girls That Code to start changes….DC Public Schools Partnerships in an “hour of code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46309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y story:  I was a client and came to Accentur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2253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lti-player games…not unusual for teens…working with teams around the globe. </a:t>
            </a:r>
          </a:p>
          <a:p>
            <a:endParaRPr lang="en-US" dirty="0"/>
          </a:p>
          <a:p>
            <a:r>
              <a:rPr lang="en-US" dirty="0"/>
              <a:t>Many of the </a:t>
            </a:r>
            <a:r>
              <a:rPr lang="en-US" dirty="0" err="1"/>
              <a:t>workteams</a:t>
            </a:r>
            <a:r>
              <a:rPr lang="en-US" dirty="0"/>
              <a:t> you work on have immigrants or other diverse populations on their teams…talk about economist from India…OBM…celebrate it…where are you from?  Shrimp curry. </a:t>
            </a:r>
          </a:p>
          <a:p>
            <a:endParaRPr lang="en-US" dirty="0"/>
          </a:p>
          <a:p>
            <a:r>
              <a:rPr lang="en-US" dirty="0"/>
              <a:t>“I’m from Cleveland” … experiences from India …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urns to head of Parliament…I’m from Cleveland…my son is at the Cleveland Clini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urns to CP Party Leader…I’m from Cleveland…my brother is a mortgage banker from Maple Heigh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urns to University President…I’m from Cleveland…my daughter is at Case Western Reserve university</a:t>
            </a:r>
          </a:p>
          <a:p>
            <a:endParaRPr lang="en-US" dirty="0"/>
          </a:p>
          <a:p>
            <a:r>
              <a:rPr lang="en-US" dirty="0"/>
              <a:t>More need for common cultural approach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372144-4C54-4412-B80D-0C713CB1A017}" type="slidenum">
              <a:rPr lang="pl-PL" smtClean="0"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0884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6200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40044" y="5073856"/>
            <a:ext cx="3856329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4859384" y="1943102"/>
            <a:ext cx="6662057" cy="3169903"/>
          </a:xfrm>
        </p:spPr>
        <p:txBody>
          <a:bodyPr tIns="252000" anchor="ctr"/>
          <a:lstStyle>
            <a:lvl1pPr>
              <a:lnSpc>
                <a:spcPct val="70000"/>
              </a:lnSpc>
              <a:defRPr sz="8800" spc="-151" baseline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54034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11" b="1" i="0">
                <a:solidFill>
                  <a:schemeClr val="tx1"/>
                </a:solidFill>
                <a:latin typeface="Graphik-Black"/>
                <a:cs typeface="Graphik-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0830" b="1" i="0">
                <a:solidFill>
                  <a:schemeClr val="bg1"/>
                </a:solidFill>
                <a:latin typeface="Graphik-Black"/>
                <a:cs typeface="Graphik-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3" b="0" i="0">
                <a:solidFill>
                  <a:srgbClr val="B0B0AF"/>
                </a:solidFill>
                <a:latin typeface="Graphik"/>
                <a:cs typeface="Graphik"/>
              </a:defRPr>
            </a:lvl1pPr>
          </a:lstStyle>
          <a:p>
            <a:pPr marL="19103">
              <a:spcBef>
                <a:spcPts val="286"/>
              </a:spcBef>
            </a:pPr>
            <a:r>
              <a:rPr lang="en-US" spc="-15"/>
              <a:t>© </a:t>
            </a:r>
            <a:r>
              <a:rPr lang="en-US" spc="-30"/>
              <a:t>2018 </a:t>
            </a:r>
            <a:r>
              <a:rPr lang="en-US" spc="-38"/>
              <a:t>Accenture </a:t>
            </a:r>
            <a:r>
              <a:rPr lang="en-US" spc="-30"/>
              <a:t>All rights</a:t>
            </a:r>
            <a:r>
              <a:rPr lang="en-US" spc="-8"/>
              <a:t> </a:t>
            </a:r>
            <a:r>
              <a:rPr lang="en-US" spc="-38"/>
              <a:t>reserved.</a:t>
            </a:r>
            <a:endParaRPr lang="en-US" spc="-38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8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3" b="1" i="0">
                <a:solidFill>
                  <a:schemeClr val="tx1"/>
                </a:solidFill>
                <a:latin typeface="Graphik-Black"/>
                <a:cs typeface="Graphik-Black"/>
              </a:defRPr>
            </a:lvl1pPr>
          </a:lstStyle>
          <a:p>
            <a:pPr marL="114620">
              <a:spcBef>
                <a:spcPts val="316"/>
              </a:spcBef>
            </a:pPr>
            <a:fld id="{81D60167-4931-47E6-BA6A-407CBD079E47}" type="slidenum">
              <a:rPr lang="en-US" smtClean="0"/>
              <a:pPr marL="114620">
                <a:spcBef>
                  <a:spcPts val="316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959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48148" y="240453"/>
            <a:ext cx="9063053" cy="1245105"/>
          </a:xfrm>
        </p:spPr>
        <p:txBody>
          <a:bodyPr>
            <a:noAutofit/>
          </a:bodyPr>
          <a:lstStyle>
            <a:lvl1pPr algn="l">
              <a:defRPr baseline="0"/>
            </a:lvl1pPr>
          </a:lstStyle>
          <a:p>
            <a:r>
              <a:rPr lang="en-US" sz="4800">
                <a:latin typeface="Arial Black" panose="020B0A04020102020204" pitchFamily="34" charset="0"/>
              </a:rPr>
              <a:t>TITLE 36PT MAXIMUM 2 LINES</a:t>
            </a:r>
          </a:p>
        </p:txBody>
      </p:sp>
      <p:pic>
        <p:nvPicPr>
          <p:cNvPr id="2" name="Picture 1" descr="signatureRV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915" y="6148266"/>
            <a:ext cx="1717711" cy="492645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040" y="1009650"/>
            <a:ext cx="7741920" cy="483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27598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itle 1"/>
          <p:cNvSpPr txBox="1"/>
          <p:nvPr/>
        </p:nvSpPr>
        <p:spPr>
          <a:xfrm>
            <a:off x="283546" y="1624723"/>
            <a:ext cx="6762945" cy="785463"/>
          </a:xfrm>
          <a:prstGeom prst="rect">
            <a:avLst/>
          </a:prstGeom>
        </p:spPr>
        <p:txBody>
          <a:bodyPr vert="horz" lIns="91452" tIns="45727" rIns="91452" bIns="45727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3200">
              <a:latin typeface="Arial Black" panose="020B0A040201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140" y="1074116"/>
            <a:ext cx="5336536" cy="3360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95279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lank_RViolet">
    <p:bg>
      <p:bgPr>
        <a:solidFill>
          <a:srgbClr val="5511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bg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3794530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lank_DkOrange">
    <p:bg>
      <p:bgPr>
        <a:solidFill>
          <a:srgbClr val="DD44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bg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1407787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lank_YelOrange">
    <p:bg>
      <p:bgPr>
        <a:solidFill>
          <a:srgbClr val="FF99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bg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4251095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lank_YelOrange">
    <p:bg>
      <p:bgPr>
        <a:solidFill>
          <a:srgbClr val="EEAA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bg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729105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lank_YelOrange">
    <p:bg>
      <p:bgPr>
        <a:solidFill>
          <a:srgbClr val="FFDD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bg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19013200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Blank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3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tx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1978891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67114417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iPhone_White_RVioletSt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355739" y="1287166"/>
            <a:ext cx="5589383" cy="2774092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ct val="0"/>
              </a:spcBef>
              <a:defRPr sz="3200" b="1" cap="all" baseline="0">
                <a:solidFill>
                  <a:srgbClr val="551155"/>
                </a:solidFill>
                <a:latin typeface="Arial Black" panose="020B0A04020102020204" pitchFamily="34" charset="0"/>
              </a:defRPr>
            </a:lvl1pPr>
            <a:lvl2pPr algn="ctr">
              <a:defRPr sz="4400" b="1">
                <a:latin typeface="Arial Black" panose="020B0A04020102020204" pitchFamily="34" charset="0"/>
              </a:defRPr>
            </a:lvl2pPr>
            <a:lvl3pPr algn="ctr">
              <a:defRPr sz="4400" b="1">
                <a:latin typeface="Arial Black" panose="020B0A04020102020204" pitchFamily="34" charset="0"/>
              </a:defRPr>
            </a:lvl3pPr>
            <a:lvl4pPr algn="ctr">
              <a:defRPr sz="4400" b="1">
                <a:latin typeface="Arial Black" panose="020B0A04020102020204" pitchFamily="34" charset="0"/>
              </a:defRPr>
            </a:lvl4pPr>
            <a:lvl5pPr algn="ctr">
              <a:defRPr sz="4400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AT 24PT AND UPPERCASE, MINIMUM 20PT. AS SE ENI OLESTOTATE CON RAERUM ES INI EREPUDI ODIT EHENDIAM EUM.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3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929407" y="1343758"/>
            <a:ext cx="2268887" cy="4013071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810108" anchor="t"/>
          <a:lstStyle>
            <a:lvl1pPr algn="ctr">
              <a:lnSpc>
                <a:spcPct val="110000"/>
              </a:lnSpc>
              <a:spcBef>
                <a:spcPct val="0"/>
              </a:spcBef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en-AU"/>
              <a:t>INSERT 11.15 x 6.3CM</a:t>
            </a:r>
            <a:br>
              <a:rPr lang="en-AU"/>
            </a:br>
            <a:r>
              <a:rPr lang="en-AU"/>
              <a:t>OR 4.39” X 2.48” </a:t>
            </a:r>
            <a:br>
              <a:rPr lang="en-AU"/>
            </a:br>
            <a:r>
              <a:rPr lang="en-AU"/>
              <a:t>SCREENSHOT HERE</a:t>
            </a:r>
          </a:p>
        </p:txBody>
      </p:sp>
      <p:pic>
        <p:nvPicPr>
          <p:cNvPr id="8" name="Picture 2" descr="\\Dloaudata01\dlohq\StudioJobs\Clients\Presentations\Accenture\Ellen C Marks - 15-4605 - Accenture Interactive template design Ph 1\Working Files\Final Images\Versions\Other Images\iPhone6s_hig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239726" y="2"/>
            <a:ext cx="3635207" cy="6246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tx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47785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a_iPadH_White_DkOrangeSt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355739" y="1287165"/>
            <a:ext cx="3636796" cy="3955955"/>
          </a:xfrm>
        </p:spPr>
        <p:txBody>
          <a:bodyPr wrap="square" anchor="t">
            <a:spAutoFit/>
          </a:bodyPr>
          <a:lstStyle>
            <a:lvl1pPr algn="l">
              <a:lnSpc>
                <a:spcPct val="80000"/>
              </a:lnSpc>
              <a:spcBef>
                <a:spcPct val="0"/>
              </a:spcBef>
              <a:defRPr sz="3200" b="1" cap="all" baseline="0">
                <a:solidFill>
                  <a:srgbClr val="DD4411"/>
                </a:solidFill>
                <a:latin typeface="Arial Black" panose="020B0A04020102020204" pitchFamily="34" charset="0"/>
              </a:defRPr>
            </a:lvl1pPr>
            <a:lvl2pPr algn="ctr">
              <a:defRPr sz="4400" b="1">
                <a:latin typeface="Arial Black" panose="020B0A04020102020204" pitchFamily="34" charset="0"/>
              </a:defRPr>
            </a:lvl2pPr>
            <a:lvl3pPr algn="ctr">
              <a:defRPr sz="4400" b="1">
                <a:latin typeface="Arial Black" panose="020B0A04020102020204" pitchFamily="34" charset="0"/>
              </a:defRPr>
            </a:lvl3pPr>
            <a:lvl4pPr algn="ctr">
              <a:defRPr sz="4400" b="1">
                <a:latin typeface="Arial Black" panose="020B0A04020102020204" pitchFamily="34" charset="0"/>
              </a:defRPr>
            </a:lvl4pPr>
            <a:lvl5pPr algn="ctr">
              <a:defRPr sz="4400" b="1">
                <a:latin typeface="Arial Black" panose="020B0A04020102020204" pitchFamily="34" charset="0"/>
              </a:defRPr>
            </a:lvl5pPr>
          </a:lstStyle>
          <a:p>
            <a:r>
              <a:rPr lang="en-US"/>
              <a:t>INSERT STATEMENT </a:t>
            </a:r>
            <a:br>
              <a:rPr lang="en-US"/>
            </a:br>
            <a:r>
              <a:rPr lang="en-US"/>
              <a:t>AT 24PT AND UPPERCASE, MINIMUM 20PT. AS SE ENI OLESTOTATE CON RAERUM ES INI EREPUDI ODIT.</a:t>
            </a: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31"/>
          </p:nvPr>
        </p:nvSpPr>
        <p:spPr>
          <a:xfrm>
            <a:off x="7495798" y="6537399"/>
            <a:ext cx="4141956" cy="161963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32"/>
          </p:nvPr>
        </p:nvSpPr>
        <p:spPr>
          <a:xfrm flipH="1">
            <a:off x="11617001" y="6537400"/>
            <a:ext cx="216084" cy="161888"/>
          </a:xfrm>
        </p:spPr>
        <p:txBody>
          <a:bodyPr/>
          <a:lstStyle>
            <a:lvl1pPr>
              <a:defRPr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5402316" y="1438986"/>
            <a:ext cx="5312075" cy="3977079"/>
          </a:xfrm>
          <a:solidFill>
            <a:schemeClr val="bg2">
              <a:lumMod val="20000"/>
              <a:lumOff val="80000"/>
            </a:schemeClr>
          </a:solidFill>
        </p:spPr>
        <p:txBody>
          <a:bodyPr lIns="0" tIns="810108" anchor="t"/>
          <a:lstStyle>
            <a:lvl1pPr algn="ctr">
              <a:lnSpc>
                <a:spcPct val="110000"/>
              </a:lnSpc>
              <a:spcBef>
                <a:spcPct val="0"/>
              </a:spcBef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en-AU"/>
              <a:t>INSERT 11.05 x 14.75CM</a:t>
            </a:r>
            <a:br>
              <a:rPr lang="en-AU"/>
            </a:br>
            <a:r>
              <a:rPr lang="en-AU"/>
              <a:t>OR 4.35” X 5.81” </a:t>
            </a:r>
            <a:br>
              <a:rPr lang="en-AU"/>
            </a:br>
            <a:r>
              <a:rPr lang="en-AU"/>
              <a:t>SCREENSHOT HERE</a:t>
            </a:r>
          </a:p>
        </p:txBody>
      </p:sp>
      <p:pic>
        <p:nvPicPr>
          <p:cNvPr id="8" name="Picture 2" descr="\\Dloaudata01\dlohq\StudioJobs\Clients\Presentations\Accenture\Ellen C Marks - 15-4605 - Accenture Interactive template design Ph 1\Working Files\Final Images\Versions\Other Images\iPadAir2_H_hig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81572" y="0"/>
            <a:ext cx="791042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355741" y="6354927"/>
            <a:ext cx="1805092" cy="289688"/>
          </a:xfrm>
          <a:ln>
            <a:solidFill>
              <a:schemeClr val="tx1"/>
            </a:solidFill>
          </a:ln>
        </p:spPr>
        <p:txBody>
          <a:bodyPr wrap="none" lIns="108005" tIns="54003" rIns="108005" bIns="54003" anchor="ctr">
            <a:spAutoFit/>
          </a:bodyPr>
          <a:lstStyle>
            <a:lvl1pPr>
              <a:spcBef>
                <a:spcPct val="0"/>
              </a:spcBef>
              <a:defRPr sz="10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Key Point if Needed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3958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Accenture Rotis SansSerif"/>
                <a:cs typeface="Accenture Rotis SansSerif"/>
              </a:defRPr>
            </a:lvl1pPr>
            <a:lvl2pPr>
              <a:defRPr>
                <a:solidFill>
                  <a:schemeClr val="tx1"/>
                </a:solidFill>
                <a:latin typeface="+mn-lt"/>
                <a:cs typeface="Helvetica"/>
              </a:defRPr>
            </a:lvl2pPr>
            <a:lvl3pPr>
              <a:defRPr>
                <a:solidFill>
                  <a:schemeClr val="tx1"/>
                </a:solidFill>
                <a:latin typeface="+mj-lt"/>
                <a:cs typeface="Helvetica"/>
              </a:defRPr>
            </a:lvl3pPr>
            <a:lvl4pPr>
              <a:defRPr>
                <a:solidFill>
                  <a:schemeClr val="tx1"/>
                </a:solidFill>
                <a:latin typeface="+mj-lt"/>
                <a:cs typeface="Helvetica"/>
              </a:defRPr>
            </a:lvl4pPr>
            <a:lvl5pPr>
              <a:defRPr>
                <a:solidFill>
                  <a:schemeClr val="tx1"/>
                </a:solidFill>
                <a:latin typeface="+mj-lt"/>
                <a:cs typeface="Helvetica"/>
              </a:defRPr>
            </a:lvl5pPr>
          </a:lstStyle>
          <a:p>
            <a:pPr lvl="0"/>
            <a:r>
              <a:rPr lang="en-CA"/>
              <a:t>First Level Text</a:t>
            </a:r>
          </a:p>
          <a:p>
            <a:pPr lvl="1"/>
            <a:r>
              <a:rPr lang="en-CA"/>
              <a:t>Second Level Text</a:t>
            </a:r>
          </a:p>
          <a:p>
            <a:pPr lvl="2"/>
            <a:r>
              <a:rPr lang="en-CA"/>
              <a:t>Third Level Text</a:t>
            </a:r>
          </a:p>
          <a:p>
            <a:pPr lvl="3"/>
            <a:r>
              <a:rPr lang="en-CA"/>
              <a:t>Fourth Level Text</a:t>
            </a:r>
          </a:p>
          <a:p>
            <a:pPr lvl="4"/>
            <a:r>
              <a:rPr lang="en-CA"/>
              <a:t>Fifth Level Tex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5261" y="132025"/>
            <a:ext cx="11089804" cy="785553"/>
          </a:xfrm>
        </p:spPr>
        <p:txBody>
          <a:bodyPr/>
          <a:lstStyle>
            <a:lvl1pPr>
              <a:defRPr>
                <a:solidFill>
                  <a:srgbClr val="535353"/>
                </a:solidFill>
              </a:defRPr>
            </a:lvl1pPr>
          </a:lstStyle>
          <a:p>
            <a:r>
              <a:rPr lang="en-US"/>
              <a:t>Master Title Slide Headline</a:t>
            </a:r>
            <a:endParaRPr lang="en-CA"/>
          </a:p>
        </p:txBody>
      </p:sp>
      <p:sp>
        <p:nvSpPr>
          <p:cNvPr id="8" name="TextBox 7"/>
          <p:cNvSpPr txBox="1"/>
          <p:nvPr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auto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 smtClean="0">
                <a:solidFill>
                  <a:srgbClr val="8587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fontAlgn="auto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>
              <a:solidFill>
                <a:srgbClr val="85878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01132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529E7-4BB4-7A4A-B9E5-CB4C5D7F5410}" type="datetimeFigureOut">
              <a:rPr lang="en-US" smtClean="0"/>
              <a:t>3/8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B5C90-D52B-B146-8D42-AA69374A2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41614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600"/>
              </a:spcBef>
              <a:spcAft>
                <a:spcPct val="0"/>
              </a:spcAft>
              <a:buNone/>
              <a:defRPr sz="3200" b="1">
                <a:solidFill>
                  <a:schemeClr val="accent6">
                    <a:lumMod val="75000"/>
                  </a:schemeClr>
                </a:solidFill>
              </a:defRPr>
            </a:lvl1pPr>
            <a:lvl2pPr marL="309026" indent="-309026">
              <a:spcBef>
                <a:spcPts val="832"/>
              </a:spcBef>
              <a:buFont typeface="Arial" panose="020B0604020202020204" pitchFamily="34" charset="0"/>
              <a:buChar char="•"/>
              <a:defRPr/>
            </a:lvl2pPr>
            <a:lvl3pPr marL="609585" indent="-309026">
              <a:buFont typeface="Arial" panose="020B0604020202020204" pitchFamily="34" charset="0"/>
              <a:buChar char="–"/>
              <a:defRPr/>
            </a:lvl3pPr>
            <a:lvl4pPr marL="918610" indent="-300559">
              <a:buFont typeface="Arial" panose="020B0604020202020204" pitchFamily="34" charset="0"/>
              <a:buChar char="•"/>
              <a:defRPr/>
            </a:lvl4pPr>
            <a:lvl5pPr marL="1219170" indent="-300559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CA"/>
              <a:t>First Level Text</a:t>
            </a:r>
          </a:p>
          <a:p>
            <a:pPr lvl="1"/>
            <a:r>
              <a:rPr lang="en-CA"/>
              <a:t>Second Level Text</a:t>
            </a:r>
          </a:p>
          <a:p>
            <a:pPr lvl="2"/>
            <a:r>
              <a:rPr lang="en-CA"/>
              <a:t>Third Level Text</a:t>
            </a:r>
          </a:p>
          <a:p>
            <a:pPr lvl="3"/>
            <a:r>
              <a:rPr lang="en-CA"/>
              <a:t>Fourth Level Text</a:t>
            </a:r>
          </a:p>
          <a:p>
            <a:pPr lvl="4"/>
            <a:r>
              <a:rPr lang="en-CA"/>
              <a:t>Fifth Level Text</a:t>
            </a:r>
          </a:p>
        </p:txBody>
      </p:sp>
      <p:sp>
        <p:nvSpPr>
          <p:cNvPr id="12" name="Title 2"/>
          <p:cNvSpPr>
            <a:spLocks noGrp="1"/>
          </p:cNvSpPr>
          <p:nvPr>
            <p:ph type="title" hasCustomPrompt="1"/>
          </p:nvPr>
        </p:nvSpPr>
        <p:spPr>
          <a:xfrm>
            <a:off x="423334" y="21168"/>
            <a:ext cx="10940348" cy="785553"/>
          </a:xfrm>
        </p:spPr>
        <p:txBody>
          <a:bodyPr/>
          <a:lstStyle>
            <a:lvl1pPr>
              <a:defRPr>
                <a:solidFill>
                  <a:srgbClr val="983797"/>
                </a:solidFill>
              </a:defRPr>
            </a:lvl1pPr>
          </a:lstStyle>
          <a:p>
            <a:r>
              <a:rPr lang="en-US"/>
              <a:t>Master Title Slide Headline</a:t>
            </a:r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1639451" y="6386400"/>
            <a:ext cx="216000" cy="140400"/>
          </a:xfrm>
        </p:spPr>
        <p:txBody>
          <a:bodyPr/>
          <a:lstStyle/>
          <a:p>
            <a:fld id="{17D800ED-CB1B-4EBC-A0D2-2190AF4D88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935384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423335" y="21169"/>
            <a:ext cx="10940348" cy="78555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Master Title Slide Headline</a:t>
            </a:r>
            <a:endParaRPr lang="en-CA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1639451" y="6386400"/>
            <a:ext cx="216000" cy="140400"/>
          </a:xfrm>
        </p:spPr>
        <p:txBody>
          <a:bodyPr/>
          <a:lstStyle/>
          <a:p>
            <a:fld id="{17D800ED-CB1B-4EBC-A0D2-2190AF4D88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91881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3" y="1427164"/>
            <a:ext cx="11186191" cy="4668837"/>
          </a:xfrm>
        </p:spPr>
        <p:txBody>
          <a:bodyPr/>
          <a:lstStyle>
            <a:lvl1pPr marL="0" indent="0">
              <a:buNone/>
              <a:defRPr b="0">
                <a:solidFill>
                  <a:srgbClr val="0088A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1639451" y="6386400"/>
            <a:ext cx="216000" cy="140400"/>
          </a:xfrm>
        </p:spPr>
        <p:txBody>
          <a:bodyPr/>
          <a:lstStyle/>
          <a:p>
            <a:fld id="{17D800ED-CB1B-4EBC-A0D2-2190AF4D88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046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4"/>
          <p:cNvSpPr>
            <a:spLocks noGrp="1"/>
          </p:cNvSpPr>
          <p:nvPr>
            <p:ph type="sldNum" sz="quarter" idx="13"/>
          </p:nvPr>
        </p:nvSpPr>
        <p:spPr>
          <a:xfrm>
            <a:off x="11639451" y="6386400"/>
            <a:ext cx="216000" cy="140400"/>
          </a:xfrm>
        </p:spPr>
        <p:txBody>
          <a:bodyPr/>
          <a:lstStyle/>
          <a:p>
            <a:fld id="{17D800ED-CB1B-4EBC-A0D2-2190AF4D88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513932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Acc_MasterBLACK"/>
          <p:cNvGrpSpPr>
            <a:grpSpLocks noChangeAspect="1"/>
          </p:cNvGrpSpPr>
          <p:nvPr/>
        </p:nvGrpSpPr>
        <p:grpSpPr>
          <a:xfrm>
            <a:off x="334963" y="377725"/>
            <a:ext cx="1664208" cy="446695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/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340044" y="5073856"/>
            <a:ext cx="3856329" cy="1041195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2000" b="0" i="0" cap="all" baseline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pPr lvl="0"/>
            <a:r>
              <a:rPr lang="en-US"/>
              <a:t>SUBTITLE LINE</a:t>
            </a:r>
            <a:br>
              <a:rPr lang="en-US"/>
            </a:br>
            <a:r>
              <a:rPr lang="en-US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>
            <p:ph type="title" hasCustomPrompt="1"/>
          </p:nvPr>
        </p:nvSpPr>
        <p:spPr>
          <a:xfrm>
            <a:off x="4859384" y="1943102"/>
            <a:ext cx="6662057" cy="3169903"/>
          </a:xfrm>
        </p:spPr>
        <p:txBody>
          <a:bodyPr tIns="252000" anchor="ctr"/>
          <a:lstStyle>
            <a:lvl1pPr>
              <a:lnSpc>
                <a:spcPct val="70000"/>
              </a:lnSpc>
              <a:defRPr sz="8800" spc="-151" baseline="0">
                <a:solidFill>
                  <a:schemeClr val="tx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Click </a:t>
            </a:r>
            <a:br>
              <a:rPr lang="en-US"/>
            </a:br>
            <a:r>
              <a:rPr lang="en-US"/>
              <a:t>to edit Master tit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02353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extLst mod="1">
    <p:ext uri="{DCECCB84-F9BA-43D5-87BE-67443E8EF086}">
      <p15:sldGuideLst xmlns:p15="http://schemas.microsoft.com/office/powerpoint/2012/main" xmlns="">
        <p15:guide id="1" pos="7320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868476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1" y="1828802"/>
            <a:ext cx="8572500" cy="4689475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6538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828802"/>
            <a:ext cx="5715000" cy="46894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spcAft>
                <a:spcPts val="1200"/>
              </a:spcAft>
              <a:defRPr sz="2000"/>
            </a:lvl2pPr>
            <a:lvl3pPr marL="514338" indent="-230182">
              <a:buFont typeface="Graphik" panose="020B0503030202060203" pitchFamily="34" charset="0"/>
              <a:buChar char="–"/>
              <a:defRPr sz="16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762021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913074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45835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34963" y="2799607"/>
            <a:ext cx="8561387" cy="953986"/>
          </a:xfrm>
        </p:spPr>
        <p:txBody>
          <a:bodyPr tIns="198000" rIns="0" anchor="ctr">
            <a:spAutoFit/>
          </a:bodyPr>
          <a:lstStyle>
            <a:lvl1pPr>
              <a:lnSpc>
                <a:spcPct val="70000"/>
              </a:lnSpc>
              <a:defRPr sz="7000" cap="all" baseline="0">
                <a:solidFill>
                  <a:schemeClr val="bg1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divider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xmlns="" id="{3E64A57B-CCD1-4D2D-83A8-71D752F164B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410450" y="6386400"/>
            <a:ext cx="4114800" cy="14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pyright © 2018 Accenture. All rights reserved.</a:t>
            </a:r>
            <a:endParaRPr lang="en-GB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xmlns="" id="{A0F436CD-2AEA-42B5-A70B-F9CA9F248B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639450" y="6386400"/>
            <a:ext cx="216000" cy="14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D800ED-CB1B-4EBC-A0D2-2190AF4D887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476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/>
        </p:nvCxnSpPr>
        <p:spPr>
          <a:xfrm flipV="1">
            <a:off x="465260" y="1162053"/>
            <a:ext cx="11726741" cy="1"/>
          </a:xfrm>
          <a:prstGeom prst="line">
            <a:avLst/>
          </a:prstGeom>
          <a:ln w="12700">
            <a:solidFill>
              <a:srgbClr val="F0A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2"/>
          <p:cNvSpPr>
            <a:spLocks noGrp="1"/>
          </p:cNvSpPr>
          <p:nvPr>
            <p:ph type="title" hasCustomPrompt="1"/>
          </p:nvPr>
        </p:nvSpPr>
        <p:spPr>
          <a:xfrm>
            <a:off x="423334" y="363226"/>
            <a:ext cx="10940348" cy="785553"/>
          </a:xfrm>
        </p:spPr>
        <p:txBody>
          <a:bodyPr/>
          <a:lstStyle>
            <a:lvl1pPr>
              <a:defRPr>
                <a:solidFill>
                  <a:srgbClr val="983797"/>
                </a:solidFill>
              </a:defRPr>
            </a:lvl1pPr>
          </a:lstStyle>
          <a:p>
            <a:r>
              <a:rPr lang="en-US"/>
              <a:t>Master Title Slide Headlin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0104453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828800"/>
            <a:ext cx="11430000" cy="4686300"/>
          </a:xfrm>
          <a:prstGeom prst="rect">
            <a:avLst/>
          </a:prstGeom>
        </p:spPr>
        <p:txBody>
          <a:bodyPr vert="horz" lIns="0" tIns="9144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opyright © 2017 Accenture.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6202" y="6519009"/>
            <a:ext cx="304799" cy="2063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108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777" r:id="rId10"/>
    <p:sldLayoutId id="2147483778" r:id="rId11"/>
  </p:sldLayoutIdLst>
  <p:transition/>
  <p:hf hdr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4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5561" indent="0" algn="l" defTabSz="914377" rtl="0" eaLnBrk="1" latinLnBrk="0" hangingPunct="1">
        <a:lnSpc>
          <a:spcPct val="85000"/>
        </a:lnSpc>
        <a:spcBef>
          <a:spcPct val="0"/>
        </a:spcBef>
        <a:spcAft>
          <a:spcPts val="1200"/>
        </a:spcAft>
        <a:buFont typeface="Arial" panose="020B0604020202020204" pitchFamily="34" charset="0"/>
        <a:buNone/>
        <a:defRPr sz="2800" b="1" kern="1200" cap="none" baseline="0">
          <a:solidFill>
            <a:schemeClr val="tx1"/>
          </a:solidFill>
          <a:latin typeface="+mj-lt"/>
          <a:ea typeface="+mn-ea"/>
          <a:cs typeface="+mn-cs"/>
        </a:defRPr>
      </a:lvl1pPr>
      <a:lvl2pPr marL="285744" indent="-230182" algn="l" defTabSz="914377" rtl="0" eaLnBrk="1" latinLnBrk="0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8" indent="-230182" algn="l" defTabSz="914377" rtl="0" eaLnBrk="1" latinLnBrk="0" hangingPunct="1">
        <a:lnSpc>
          <a:spcPct val="110000"/>
        </a:lnSpc>
        <a:spcBef>
          <a:spcPct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indent="-171446" algn="l" defTabSz="914377" rtl="0" eaLnBrk="1" latinLnBrk="0" hangingPunct="1">
        <a:lnSpc>
          <a:spcPct val="11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ct val="0"/>
        </a:spcBef>
        <a:spcAft>
          <a:spcPct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ct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ct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152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5740" y="1283995"/>
            <a:ext cx="11474081" cy="49486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5740" y="554272"/>
            <a:ext cx="11721961" cy="543475"/>
          </a:xfrm>
          <a:prstGeom prst="rect">
            <a:avLst/>
          </a:prstGeom>
        </p:spPr>
        <p:txBody>
          <a:bodyPr vert="horz" lIns="0" tIns="45714" rIns="0" bIns="0" rtlCol="0" anchor="t" anchorCtr="0">
            <a:noAutofit/>
          </a:bodyPr>
          <a:lstStyle/>
          <a:p>
            <a:pPr lvl="0"/>
            <a:r>
              <a:rPr lang="en-US"/>
              <a:t>INSERT MAIN TITLE AT 32PT MIN 28PT</a:t>
            </a:r>
            <a:endParaRPr lang="en-AU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 flipH="1">
            <a:off x="11617001" y="6537400"/>
            <a:ext cx="216084" cy="161888"/>
          </a:xfrm>
          <a:prstGeom prst="rect">
            <a:avLst/>
          </a:prstGeom>
        </p:spPr>
        <p:txBody>
          <a:bodyPr vert="horz" wrap="square" lIns="0" tIns="45714" rIns="0" bIns="4571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7495798" y="6537399"/>
            <a:ext cx="4141956" cy="161963"/>
          </a:xfrm>
          <a:prstGeom prst="rect">
            <a:avLst/>
          </a:prstGeom>
        </p:spPr>
        <p:txBody>
          <a:bodyPr vert="horz" wrap="square" lIns="0" tIns="45714" rIns="0" bIns="45714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800">
                <a:solidFill>
                  <a:schemeClr val="tx1"/>
                </a:solidFill>
                <a:latin typeface="+mn-lt"/>
                <a:ea typeface="Roboto Light" panose="02000000000000000000" pitchFamily="2" charset="0"/>
                <a:cs typeface="Gotham Medium" pitchFamily="2" charset="0"/>
              </a:defRPr>
            </a:lvl1pPr>
          </a:lstStyle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0525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</p:sldLayoutIdLst>
  <p:transition/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/>
        <a:defRPr lang="en-AU" sz="4267" kern="1200" cap="all" spc="0" baseline="0" smtClean="0">
          <a:solidFill>
            <a:srgbClr val="551155"/>
          </a:solidFill>
          <a:latin typeface="Arial Black" panose="020B0A04020102020204" pitchFamily="34" charset="0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buFont typeface="Arial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buFont typeface="Arial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buFont typeface="Arial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7"/>
        </a:lnSpc>
        <a:spcBef>
          <a:spcPct val="0"/>
        </a:spcBef>
        <a:spcAft>
          <a:spcPct val="0"/>
        </a:spcAft>
        <a:buFont typeface="Arial"/>
        <a:defRPr sz="32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50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9018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852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8035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67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ts val="1200"/>
        </a:spcBef>
        <a:spcAft>
          <a:spcPct val="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216024" indent="-216024" algn="l" rtl="0" eaLnBrk="1" fontAlgn="base" hangingPunct="1">
        <a:lnSpc>
          <a:spcPct val="11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32047" indent="-216024" algn="l" rtl="0" eaLnBrk="1" fontAlgn="base" hangingPunct="1">
        <a:lnSpc>
          <a:spcPct val="11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‒"/>
        <a:defRPr sz="24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12066" indent="-216024" algn="l" rtl="0" eaLnBrk="1" fontAlgn="base" hangingPunct="1">
        <a:lnSpc>
          <a:spcPct val="11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64093" indent="-216024" algn="l" rtl="0" eaLnBrk="1" fontAlgn="base" hangingPunct="1">
        <a:lnSpc>
          <a:spcPct val="110000"/>
        </a:lnSpc>
        <a:spcBef>
          <a:spcPts val="800"/>
        </a:spcBef>
        <a:spcAft>
          <a:spcPct val="0"/>
        </a:spcAft>
        <a:buFont typeface="Arial" panose="020B0604020202020204" pitchFamily="34" charset="0"/>
        <a:buChar char="‒"/>
        <a:defRPr sz="24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3352296" indent="-304756" algn="l" defTabSz="12190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805" indent="-304756" algn="l" defTabSz="12190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314" indent="-304756" algn="l" defTabSz="12190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822" indent="-304756" algn="l" defTabSz="12190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9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18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6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5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2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3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59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435">
          <p15:clr>
            <a:srgbClr val="F26B43"/>
          </p15:clr>
        </p15:guide>
        <p15:guide id="2" pos="226">
          <p15:clr>
            <a:srgbClr val="F26B43"/>
          </p15:clr>
        </p15:guide>
        <p15:guide id="3" pos="7452">
          <p15:clr>
            <a:srgbClr val="F26B43"/>
          </p15:clr>
        </p15:guide>
        <p15:guide id="4" pos="1278">
          <p15:clr>
            <a:srgbClr val="F26B43"/>
          </p15:clr>
        </p15:guide>
        <p15:guide id="6" pos="2513">
          <p15:clr>
            <a:srgbClr val="F26B43"/>
          </p15:clr>
        </p15:guide>
        <p15:guide id="7" pos="2696">
          <p15:clr>
            <a:srgbClr val="F26B43"/>
          </p15:clr>
        </p15:guide>
        <p15:guide id="8" pos="3929">
          <p15:clr>
            <a:srgbClr val="F26B43"/>
          </p15:clr>
        </p15:guide>
        <p15:guide id="9" pos="3748">
          <p15:clr>
            <a:srgbClr val="F26B43"/>
          </p15:clr>
        </p15:guide>
        <p15:guide id="10" pos="4980">
          <p15:clr>
            <a:srgbClr val="F26B43"/>
          </p15:clr>
        </p15:guide>
        <p15:guide id="11" pos="5162">
          <p15:clr>
            <a:srgbClr val="F26B43"/>
          </p15:clr>
        </p15:guide>
        <p15:guide id="12" pos="6218">
          <p15:clr>
            <a:srgbClr val="F26B43"/>
          </p15:clr>
        </p15:guide>
        <p15:guide id="13" pos="6399">
          <p15:clr>
            <a:srgbClr val="F26B43"/>
          </p15:clr>
        </p15:guide>
        <p15:guide id="14" orient="horz" pos="876">
          <p15:clr>
            <a:srgbClr val="F26B43"/>
          </p15:clr>
        </p15:guide>
        <p15:guide id="15" orient="horz" pos="1118">
          <p15:clr>
            <a:srgbClr val="F26B43"/>
          </p15:clr>
        </p15:guide>
        <p15:guide id="16" orient="horz" pos="3756">
          <p15:clr>
            <a:srgbClr val="F26B43"/>
          </p15:clr>
        </p15:guide>
        <p15:guide id="17" orient="horz" pos="597">
          <p15:clr>
            <a:srgbClr val="F26B43"/>
          </p15:clr>
        </p15:guide>
        <p15:guide id="18" orient="horz" pos="4032">
          <p15:clr>
            <a:srgbClr val="F26B43"/>
          </p15:clr>
        </p15:guide>
        <p15:guide id="19" orient="horz" pos="4199">
          <p15:clr>
            <a:srgbClr val="F26B43"/>
          </p15:clr>
        </p15:guide>
        <p15:guide id="20" orient="horz" pos="807">
          <p15:clr>
            <a:srgbClr val="F26B43"/>
          </p15:clr>
        </p15:guide>
        <p15:guide id="21" pos="14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9A5ABCE9-1DA9-4498-ACFC-E191C7ED07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xmlns="" id="{65C413A0-48D0-429E-94CA-0D43C464A3A8}"/>
              </a:ext>
            </a:extLst>
          </p:cNvPr>
          <p:cNvSpPr txBox="1"/>
          <p:nvPr/>
        </p:nvSpPr>
        <p:spPr>
          <a:xfrm>
            <a:off x="444494" y="1882903"/>
            <a:ext cx="5398367" cy="2622902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40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Graphik" panose="020B0503030202060203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1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Graphik"/>
              </a:rPr>
              <a:t>LEVERAGING STRATEGIC ALLIANCES </a:t>
            </a: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 Light" panose="020B040303020206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sz="3600" dirty="0">
                <a:solidFill>
                  <a:srgbClr val="000000"/>
                </a:solidFill>
                <a:latin typeface="Graphik Light" panose="020B0403030202060203" pitchFamily="34" charset="0"/>
                <a:ea typeface="+mn-ea"/>
                <a:cs typeface="+mn-cs"/>
              </a:rPr>
              <a:t>GFOA WOMEN’S CONFERENC</a:t>
            </a:r>
            <a:r>
              <a:rPr lang="en-US" sz="3600" dirty="0">
                <a:solidFill>
                  <a:srgbClr val="000000"/>
                </a:solidFill>
                <a:latin typeface="Graphik Light" panose="020B0403030202060203" pitchFamily="34" charset="0"/>
              </a:rPr>
              <a:t>E</a:t>
            </a: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 Light" panose="020B0403030202060203" pitchFamily="34" charset="0"/>
                <a:ea typeface="+mn-ea"/>
                <a:cs typeface="+mn-cs"/>
              </a:rPr>
              <a:t>MARCH 7, 2018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/>
            </a:r>
            <a:b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endParaRPr lang="en-US" sz="4800" dirty="0">
              <a:solidFill>
                <a:srgbClr val="000000"/>
              </a:solidFill>
              <a:latin typeface="Graphik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B354EDA-AE72-4E75-87D9-EF3E0782A9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150" y="5846619"/>
            <a:ext cx="4309309" cy="668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8096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656042794"/>
              </p:ext>
            </p:extLst>
          </p:nvPr>
        </p:nvGraphicFramePr>
        <p:xfrm>
          <a:off x="908931" y="2451188"/>
          <a:ext cx="10550672" cy="3640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10</a:t>
            </a:fld>
            <a:endParaRPr lang="en-US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/>
          <a:p>
            <a:r>
              <a:rPr lang="en-US" sz="1000">
                <a:solidFill>
                  <a:schemeClr val="bg1">
                    <a:lumMod val="65000"/>
                  </a:schemeClr>
                </a:solidFill>
              </a:rPr>
              <a:t>Copyright © 2018 Accenture. All rights reserved.</a:t>
            </a:r>
          </a:p>
        </p:txBody>
      </p:sp>
      <p:sp>
        <p:nvSpPr>
          <p:cNvPr id="12" name="Title 4">
            <a:extLst/>
          </p:cNvPr>
          <p:cNvSpPr txBox="1"/>
          <p:nvPr/>
        </p:nvSpPr>
        <p:spPr>
          <a:xfrm>
            <a:off x="380999" y="380999"/>
            <a:ext cx="11407878" cy="1050756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rgbClr val="983797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>
                <a:solidFill>
                  <a:schemeClr val="tx1"/>
                </a:solidFill>
              </a:rPr>
              <a:t>Women are more likely to be on the fast-track in organizations with at least one female senior lead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8017B48-F968-467F-A520-739C7DF19C9E}"/>
              </a:ext>
            </a:extLst>
          </p:cNvPr>
          <p:cNvSpPr txBox="1"/>
          <p:nvPr/>
        </p:nvSpPr>
        <p:spPr>
          <a:xfrm>
            <a:off x="380999" y="1867812"/>
            <a:ext cx="114300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/>
              <a:t>Proportion of women on the fast-track. </a:t>
            </a:r>
            <a:r>
              <a:rPr lang="en-GB" sz="1400">
                <a:solidFill>
                  <a:schemeClr val="tx1">
                    <a:lumMod val="50000"/>
                    <a:lumOff val="50000"/>
                  </a:schemeClr>
                </a:solidFill>
              </a:rPr>
              <a:t>Fast-track employees </a:t>
            </a:r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</a:rPr>
              <a:t>comprise a fifth of our study sample, typically reach manager level within five years and lead their peer group in terms of advancement in the workplace.</a:t>
            </a:r>
            <a:endParaRPr lang="en-GB" sz="14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xmlns="" id="{093ABD08-4FD5-4D11-8F25-9920B348645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965549" y="6512920"/>
            <a:ext cx="3371005" cy="36612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>
                <a:solidFill>
                  <a:srgbClr val="7F7F7F"/>
                </a:solidFill>
                <a:cs typeface="Arial" panose="020B0604020202020204" pitchFamily="34" charset="0"/>
              </a:rPr>
              <a:t>Base = All women; One woman: </a:t>
            </a:r>
            <a:r>
              <a:rPr lang="pl-PL" sz="900">
                <a:solidFill>
                  <a:srgbClr val="7F7F7F"/>
                </a:solidFill>
                <a:cs typeface="Arial" panose="020B0604020202020204" pitchFamily="34" charset="0"/>
              </a:rPr>
              <a:t>626</a:t>
            </a:r>
            <a:r>
              <a:rPr lang="en-GB" sz="900">
                <a:solidFill>
                  <a:srgbClr val="7F7F7F"/>
                </a:solidFill>
                <a:cs typeface="Arial" panose="020B0604020202020204" pitchFamily="34" charset="0"/>
              </a:rPr>
              <a:t>; No women: </a:t>
            </a:r>
            <a:r>
              <a:rPr lang="pl-PL" sz="900">
                <a:solidFill>
                  <a:srgbClr val="7F7F7F"/>
                </a:solidFill>
                <a:cs typeface="Arial" panose="020B0604020202020204" pitchFamily="34" charset="0"/>
              </a:rPr>
              <a:t>74</a:t>
            </a:r>
            <a:endParaRPr lang="en-GB" sz="900">
              <a:solidFill>
                <a:srgbClr val="7F7F7F"/>
              </a:solidFill>
              <a:cs typeface="Arial" panose="020B0604020202020204" pitchFamily="34" charset="0"/>
            </a:endParaRP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0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65">
            <a:extLst>
              <a:ext uri="{FF2B5EF4-FFF2-40B4-BE49-F238E27FC236}">
                <a16:creationId xmlns:a16="http://schemas.microsoft.com/office/drawing/2014/main" xmlns="" id="{C8549822-BEC7-468D-B99E-7E2BB2C1D542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0885" y="1495895"/>
            <a:ext cx="11554727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/>
              <a:t>Approximately what proportion of your organization’s senior leadership team (e.g., CEO, Managing Director, CFO, COO) are women?</a:t>
            </a:r>
            <a:endParaRPr lang="en-GB" sz="70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DEF7B73E-17B9-42FB-871C-A67AFE100BB3}"/>
              </a:ext>
            </a:extLst>
          </p:cNvPr>
          <p:cNvSpPr txBox="1"/>
          <p:nvPr/>
        </p:nvSpPr>
        <p:spPr>
          <a:xfrm>
            <a:off x="3945702" y="6052255"/>
            <a:ext cx="1244670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GB" sz="1000">
                <a:solidFill>
                  <a:schemeClr val="bg2">
                    <a:lumMod val="75000"/>
                  </a:schemeClr>
                </a:solidFill>
                <a:latin typeface="Graphik" panose="020B0503030202060203" pitchFamily="34" charset="0"/>
                <a:cs typeface="Calibri" panose="020F0502020204030204" pitchFamily="34" charset="0"/>
              </a:rPr>
              <a:t>¹Caution: low base</a:t>
            </a:r>
            <a:endParaRPr lang="en-GB" sz="1000">
              <a:solidFill>
                <a:schemeClr val="bg2">
                  <a:lumMod val="75000"/>
                </a:schemeClr>
              </a:solidFill>
              <a:latin typeface="Graphik" panose="020B0503030202060203" pitchFamily="34" charset="0"/>
            </a:endParaRP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xmlns="" id="{F185921F-D394-478A-B5EA-B2DA6B2B862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56683" y="6477043"/>
            <a:ext cx="1386799" cy="2565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defTabSz="162551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13</a:t>
            </a:r>
            <a:endParaRPr lang="en-GB" sz="120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30299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5235B4-294C-4802-ACD7-4ECA42721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2581"/>
            <a:ext cx="8561387" cy="1708039"/>
          </a:xfrm>
        </p:spPr>
        <p:txBody>
          <a:bodyPr/>
          <a:lstStyle/>
          <a:p>
            <a:r>
              <a:rPr lang="en-US" dirty="0"/>
              <a:t>Impact of digita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3A032F2-D09B-4DB9-90DE-C4E1FB852C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E3552B5-B663-4E0F-BEF0-F5B00A8900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D800ED-CB1B-4EBC-A0D2-2190AF4D887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55223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739F5D73-9387-4774-B028-41E8323CA26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pyright © 2017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2AD2DAF-9234-4788-8E79-9EB05A3BB1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886854EE-C9C4-42D0-BC12-68F08A4B0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fluency accelerates closing the gender ga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54CCA24-60BC-49FB-A666-385736EE9A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0826" y="1474311"/>
            <a:ext cx="9358147" cy="5044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552196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EA4726E-4A83-48C1-98B8-72CE19D86C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2581"/>
            <a:ext cx="9273986" cy="1708039"/>
          </a:xfrm>
        </p:spPr>
        <p:txBody>
          <a:bodyPr/>
          <a:lstStyle/>
          <a:p>
            <a:r>
              <a:rPr lang="en-US" dirty="0"/>
              <a:t>unconventional networ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B30608E-7B95-4672-AC06-BC0439EDA44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18183AF-2A3D-45BF-84BB-8BCD1AD0EC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D800ED-CB1B-4EBC-A0D2-2190AF4D8872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809085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22390" y="305185"/>
            <a:ext cx="9014736" cy="621121"/>
          </a:xfrm>
          <a:prstGeom prst="rect">
            <a:avLst/>
          </a:prstGeom>
        </p:spPr>
        <p:txBody>
          <a:bodyPr vert="horz" wrap="square" lIns="0" tIns="19103" rIns="0" bIns="0" rtlCol="0" anchor="t" anchorCtr="0">
            <a:spAutoFit/>
          </a:bodyPr>
          <a:lstStyle/>
          <a:p>
            <a:pPr marL="19103">
              <a:lnSpc>
                <a:spcPct val="100000"/>
              </a:lnSpc>
              <a:spcBef>
                <a:spcPts val="150"/>
              </a:spcBef>
            </a:pPr>
            <a:r>
              <a:rPr spc="-8" dirty="0">
                <a:latin typeface="Graphik Black" panose="020B0503030202060203" pitchFamily="34" charset="77"/>
              </a:rPr>
              <a:t>LEADERS </a:t>
            </a:r>
            <a:r>
              <a:rPr spc="-23" dirty="0">
                <a:latin typeface="Graphik Black" panose="020B0503030202060203" pitchFamily="34" charset="77"/>
              </a:rPr>
              <a:t>EMBRACE</a:t>
            </a:r>
            <a:r>
              <a:rPr spc="-75" dirty="0">
                <a:latin typeface="Graphik Black" panose="020B0503030202060203" pitchFamily="34" charset="77"/>
              </a:rPr>
              <a:t> </a:t>
            </a:r>
            <a:r>
              <a:rPr spc="-30" dirty="0">
                <a:latin typeface="Graphik Black" panose="020B0503030202060203" pitchFamily="34" charset="77"/>
              </a:rPr>
              <a:t>PARTNERSHIP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60634" y="3726168"/>
            <a:ext cx="2942827" cy="343353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spcBef>
                <a:spcPts val="150"/>
              </a:spcBef>
            </a:pPr>
            <a:r>
              <a:rPr sz="2106" b="1" spc="-23" dirty="0">
                <a:latin typeface="Graphik Black" panose="020B0503030202060203" pitchFamily="34" charset="77"/>
                <a:cs typeface="Graphik"/>
              </a:rPr>
              <a:t>Who </a:t>
            </a:r>
            <a:r>
              <a:rPr sz="2106" b="1" spc="-38" dirty="0">
                <a:latin typeface="Graphik Black" panose="020B0503030202060203" pitchFamily="34" charset="77"/>
                <a:cs typeface="Graphik"/>
              </a:rPr>
              <a:t>they </a:t>
            </a:r>
            <a:r>
              <a:rPr sz="2106" b="1" spc="-23" dirty="0">
                <a:latin typeface="Graphik Black" panose="020B0503030202060203" pitchFamily="34" charset="77"/>
                <a:cs typeface="Graphik"/>
              </a:rPr>
              <a:t>partner</a:t>
            </a:r>
            <a:r>
              <a:rPr sz="2106" b="1" spc="23" dirty="0">
                <a:latin typeface="Graphik Black" panose="020B0503030202060203" pitchFamily="34" charset="77"/>
                <a:cs typeface="Graphik"/>
              </a:rPr>
              <a:t> </a:t>
            </a:r>
            <a:r>
              <a:rPr sz="2106" b="1" spc="-23" dirty="0">
                <a:latin typeface="Graphik Black" panose="020B0503030202060203" pitchFamily="34" charset="77"/>
                <a:cs typeface="Graphik"/>
              </a:rPr>
              <a:t>with</a:t>
            </a:r>
            <a:endParaRPr sz="2106" b="1" dirty="0">
              <a:latin typeface="Graphik Black" panose="020B0503030202060203" pitchFamily="34" charset="77"/>
              <a:cs typeface="Graphik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256284" y="4273813"/>
            <a:ext cx="1306650" cy="267443"/>
          </a:xfrm>
          <a:custGeom>
            <a:avLst/>
            <a:gdLst/>
            <a:ahLst/>
            <a:cxnLst/>
            <a:rect l="l" t="t" r="r" b="b"/>
            <a:pathLst>
              <a:path w="868680" h="177800">
                <a:moveTo>
                  <a:pt x="0" y="177800"/>
                </a:moveTo>
                <a:lnTo>
                  <a:pt x="868184" y="177800"/>
                </a:lnTo>
                <a:lnTo>
                  <a:pt x="868184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A100FF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250391" y="4269535"/>
            <a:ext cx="1240744" cy="267443"/>
          </a:xfrm>
          <a:custGeom>
            <a:avLst/>
            <a:gdLst/>
            <a:ahLst/>
            <a:cxnLst/>
            <a:rect l="l" t="t" r="r" b="b"/>
            <a:pathLst>
              <a:path w="824864" h="177800">
                <a:moveTo>
                  <a:pt x="0" y="177800"/>
                </a:moveTo>
                <a:lnTo>
                  <a:pt x="824458" y="177800"/>
                </a:lnTo>
                <a:lnTo>
                  <a:pt x="824458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A100FF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472168" y="4269535"/>
            <a:ext cx="1240744" cy="267443"/>
          </a:xfrm>
          <a:custGeom>
            <a:avLst/>
            <a:gdLst/>
            <a:ahLst/>
            <a:cxnLst/>
            <a:rect l="l" t="t" r="r" b="b"/>
            <a:pathLst>
              <a:path w="824865" h="177800">
                <a:moveTo>
                  <a:pt x="0" y="177800"/>
                </a:moveTo>
                <a:lnTo>
                  <a:pt x="824458" y="177800"/>
                </a:lnTo>
                <a:lnTo>
                  <a:pt x="824458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A100FF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256285" y="4541256"/>
            <a:ext cx="795643" cy="267443"/>
          </a:xfrm>
          <a:custGeom>
            <a:avLst/>
            <a:gdLst/>
            <a:ahLst/>
            <a:cxnLst/>
            <a:rect l="l" t="t" r="r" b="b"/>
            <a:pathLst>
              <a:path w="528955" h="177800">
                <a:moveTo>
                  <a:pt x="0" y="177800"/>
                </a:moveTo>
                <a:lnTo>
                  <a:pt x="528827" y="177800"/>
                </a:lnTo>
                <a:lnTo>
                  <a:pt x="528827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6250390" y="4536978"/>
            <a:ext cx="754571" cy="267443"/>
          </a:xfrm>
          <a:custGeom>
            <a:avLst/>
            <a:gdLst/>
            <a:ahLst/>
            <a:cxnLst/>
            <a:rect l="l" t="t" r="r" b="b"/>
            <a:pathLst>
              <a:path w="501650" h="177800">
                <a:moveTo>
                  <a:pt x="0" y="177800"/>
                </a:moveTo>
                <a:lnTo>
                  <a:pt x="501141" y="177800"/>
                </a:lnTo>
                <a:lnTo>
                  <a:pt x="501141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472168" y="4536978"/>
            <a:ext cx="792777" cy="267443"/>
          </a:xfrm>
          <a:custGeom>
            <a:avLst/>
            <a:gdLst/>
            <a:ahLst/>
            <a:cxnLst/>
            <a:rect l="l" t="t" r="r" b="b"/>
            <a:pathLst>
              <a:path w="527050" h="177800">
                <a:moveTo>
                  <a:pt x="0" y="177800"/>
                </a:moveTo>
                <a:lnTo>
                  <a:pt x="526542" y="177800"/>
                </a:lnTo>
                <a:lnTo>
                  <a:pt x="526542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674165" y="2212515"/>
            <a:ext cx="1816701" cy="267443"/>
          </a:xfrm>
          <a:custGeom>
            <a:avLst/>
            <a:gdLst/>
            <a:ahLst/>
            <a:cxnLst/>
            <a:rect l="l" t="t" r="r" b="b"/>
            <a:pathLst>
              <a:path w="1207770" h="177800">
                <a:moveTo>
                  <a:pt x="0" y="177800"/>
                </a:moveTo>
                <a:lnTo>
                  <a:pt x="1207541" y="177800"/>
                </a:lnTo>
                <a:lnTo>
                  <a:pt x="1207541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A100FF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674165" y="2479960"/>
            <a:ext cx="1409806" cy="267443"/>
          </a:xfrm>
          <a:custGeom>
            <a:avLst/>
            <a:gdLst/>
            <a:ahLst/>
            <a:cxnLst/>
            <a:rect l="l" t="t" r="r" b="b"/>
            <a:pathLst>
              <a:path w="937260" h="177800">
                <a:moveTo>
                  <a:pt x="0" y="177800"/>
                </a:moveTo>
                <a:lnTo>
                  <a:pt x="936891" y="177800"/>
                </a:lnTo>
                <a:lnTo>
                  <a:pt x="936891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130871" y="2172628"/>
            <a:ext cx="519603" cy="557899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lnSpc>
                <a:spcPts val="2128"/>
              </a:lnSpc>
              <a:spcBef>
                <a:spcPts val="150"/>
              </a:spcBef>
            </a:pPr>
            <a:r>
              <a:rPr sz="1805" b="1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5</a:t>
            </a:r>
            <a:r>
              <a:rPr sz="1805" b="1" spc="-38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8%</a:t>
            </a:r>
            <a:endParaRPr sz="1805" b="1" dirty="0">
              <a:latin typeface="Graphik Black" panose="020B0503030202060203" pitchFamily="34" charset="77"/>
              <a:cs typeface="Graphik-Black"/>
            </a:endParaRPr>
          </a:p>
          <a:p>
            <a:pPr marL="55400">
              <a:lnSpc>
                <a:spcPts val="2128"/>
              </a:lnSpc>
            </a:pP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4</a:t>
            </a:r>
            <a:r>
              <a:rPr sz="1805" spc="-8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5%</a:t>
            </a:r>
            <a:endParaRPr sz="1805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563760" y="4233921"/>
            <a:ext cx="673383" cy="557899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lnSpc>
                <a:spcPts val="2128"/>
              </a:lnSpc>
              <a:spcBef>
                <a:spcPts val="150"/>
              </a:spcBef>
            </a:pPr>
            <a:r>
              <a:rPr sz="1805" b="1" spc="-38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4</a:t>
            </a:r>
            <a:r>
              <a:rPr sz="1805" b="1" spc="-23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1</a:t>
            </a:r>
            <a:r>
              <a:rPr sz="1805" b="1" spc="-113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.</a:t>
            </a:r>
            <a:r>
              <a:rPr sz="1805" b="1" spc="-23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7%</a:t>
            </a:r>
            <a:endParaRPr sz="1805" b="1" dirty="0">
              <a:latin typeface="Graphik Black" panose="020B0503030202060203" pitchFamily="34" charset="77"/>
              <a:cs typeface="Graphik-Black"/>
            </a:endParaRPr>
          </a:p>
          <a:p>
            <a:pPr marL="28655">
              <a:lnSpc>
                <a:spcPts val="2128"/>
              </a:lnSpc>
            </a:pP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2</a:t>
            </a:r>
            <a:r>
              <a:rPr sz="1805" spc="-98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5.</a:t>
            </a:r>
            <a:r>
              <a:rPr sz="1805" spc="-60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4</a:t>
            </a: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%</a:t>
            </a:r>
            <a:endParaRPr sz="1805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491961" y="4229565"/>
            <a:ext cx="739289" cy="557899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lnSpc>
                <a:spcPts val="2128"/>
              </a:lnSpc>
              <a:spcBef>
                <a:spcPts val="150"/>
              </a:spcBef>
            </a:pPr>
            <a:r>
              <a:rPr sz="1805" b="1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3</a:t>
            </a:r>
            <a:r>
              <a:rPr sz="1805" b="1" spc="-90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9.</a:t>
            </a:r>
            <a:r>
              <a:rPr sz="1805" b="1" spc="-23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6</a:t>
            </a:r>
            <a:r>
              <a:rPr sz="1805" b="1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%</a:t>
            </a:r>
            <a:endParaRPr sz="1805" b="1" dirty="0">
              <a:latin typeface="Graphik Black" panose="020B0503030202060203" pitchFamily="34" charset="77"/>
              <a:cs typeface="Graphik-Black"/>
            </a:endParaRPr>
          </a:p>
          <a:p>
            <a:pPr marL="112710">
              <a:lnSpc>
                <a:spcPts val="2128"/>
              </a:lnSpc>
            </a:pPr>
            <a:r>
              <a:rPr sz="1805" spc="-90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2</a:t>
            </a:r>
            <a:r>
              <a:rPr sz="1805" spc="-45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4</a:t>
            </a:r>
            <a:r>
              <a:rPr sz="1805" spc="-150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.</a:t>
            </a:r>
            <a:r>
              <a:rPr sz="1805" spc="-30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7</a:t>
            </a: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%</a:t>
            </a:r>
            <a:endParaRPr sz="1805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713813" y="4229565"/>
            <a:ext cx="739289" cy="557899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lnSpc>
                <a:spcPts val="2128"/>
              </a:lnSpc>
              <a:spcBef>
                <a:spcPts val="150"/>
              </a:spcBef>
            </a:pPr>
            <a:r>
              <a:rPr sz="1805" b="1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3</a:t>
            </a:r>
            <a:r>
              <a:rPr sz="1805" b="1" spc="-90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9.</a:t>
            </a:r>
            <a:r>
              <a:rPr sz="1805" b="1" spc="-23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6</a:t>
            </a:r>
            <a:r>
              <a:rPr sz="1805" b="1" dirty="0">
                <a:solidFill>
                  <a:srgbClr val="A100FF"/>
                </a:solidFill>
                <a:latin typeface="Graphik Black" panose="020B0503030202060203" pitchFamily="34" charset="77"/>
                <a:cs typeface="Graphik-Black"/>
              </a:rPr>
              <a:t>%</a:t>
            </a:r>
            <a:endParaRPr sz="1805" b="1" dirty="0">
              <a:latin typeface="Graphik Black" panose="020B0503030202060203" pitchFamily="34" charset="77"/>
              <a:cs typeface="Graphik-Black"/>
            </a:endParaRPr>
          </a:p>
          <a:p>
            <a:pPr marL="92650">
              <a:lnSpc>
                <a:spcPts val="2128"/>
              </a:lnSpc>
            </a:pP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2</a:t>
            </a:r>
            <a:r>
              <a:rPr sz="1805" spc="-98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5</a:t>
            </a:r>
            <a:r>
              <a:rPr sz="1805" spc="-11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.</a:t>
            </a:r>
            <a:r>
              <a:rPr sz="1805" spc="-23" dirty="0">
                <a:solidFill>
                  <a:srgbClr val="B0B0AF"/>
                </a:solidFill>
                <a:latin typeface="Graphik Regular" panose="020B0503030202060203" pitchFamily="34" charset="77"/>
                <a:cs typeface="Graphik"/>
              </a:rPr>
              <a:t>6%</a:t>
            </a:r>
            <a:endParaRPr sz="1805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2390" y="1702963"/>
            <a:ext cx="4267625" cy="1176914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spcBef>
                <a:spcPts val="150"/>
              </a:spcBef>
            </a:pPr>
            <a:r>
              <a:rPr sz="2106" b="1" spc="-23" dirty="0">
                <a:latin typeface="Graphik Black" panose="020B0503030202060203" pitchFamily="34" charset="77"/>
                <a:cs typeface="Graphik"/>
              </a:rPr>
              <a:t>Leaders more </a:t>
            </a:r>
            <a:r>
              <a:rPr sz="2106" b="1" spc="-30" dirty="0">
                <a:latin typeface="Graphik Black" panose="020B0503030202060203" pitchFamily="34" charset="77"/>
                <a:cs typeface="Graphik"/>
              </a:rPr>
              <a:t>likely </a:t>
            </a:r>
            <a:r>
              <a:rPr sz="2106" b="1" spc="-23" dirty="0">
                <a:latin typeface="Graphik Black" panose="020B0503030202060203" pitchFamily="34" charset="77"/>
                <a:cs typeface="Graphik"/>
              </a:rPr>
              <a:t>to</a:t>
            </a:r>
            <a:r>
              <a:rPr sz="2106" b="1" spc="53" dirty="0">
                <a:latin typeface="Graphik Black" panose="020B0503030202060203" pitchFamily="34" charset="77"/>
                <a:cs typeface="Graphik"/>
              </a:rPr>
              <a:t> </a:t>
            </a:r>
            <a:r>
              <a:rPr sz="2106" b="1" spc="-23" dirty="0">
                <a:latin typeface="Graphik Black" panose="020B0503030202060203" pitchFamily="34" charset="77"/>
                <a:cs typeface="Graphik"/>
              </a:rPr>
              <a:t>partner</a:t>
            </a:r>
            <a:endParaRPr sz="2106" b="1" dirty="0">
              <a:latin typeface="Graphik Black" panose="020B0503030202060203" pitchFamily="34" charset="77"/>
              <a:cs typeface="Graphik"/>
            </a:endParaRPr>
          </a:p>
          <a:p>
            <a:pPr marL="57310" marR="7641">
              <a:lnSpc>
                <a:spcPts val="1655"/>
              </a:lnSpc>
              <a:spcBef>
                <a:spcPts val="1391"/>
              </a:spcBef>
            </a:pPr>
            <a:r>
              <a:rPr sz="1504" spc="-38" dirty="0">
                <a:latin typeface="Graphik Regular" panose="020B0503030202060203" pitchFamily="34" charset="77"/>
                <a:cs typeface="Graphik"/>
              </a:rPr>
              <a:t>Work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with at least one private partner to get  knowledge, guidance or information that </a:t>
            </a:r>
            <a:r>
              <a:rPr sz="1504" spc="-30" dirty="0">
                <a:latin typeface="Graphik Regular" panose="020B0503030202060203" pitchFamily="34" charset="77"/>
                <a:cs typeface="Graphik"/>
              </a:rPr>
              <a:t>feeds 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into their innovation</a:t>
            </a:r>
            <a:r>
              <a:rPr sz="1504" spc="38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activities</a:t>
            </a:r>
            <a:endParaRPr sz="1504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60597" y="4238969"/>
            <a:ext cx="984763" cy="250763"/>
          </a:xfrm>
          <a:prstGeom prst="rect">
            <a:avLst/>
          </a:prstGeom>
        </p:spPr>
        <p:txBody>
          <a:bodyPr vert="horz" wrap="square" lIns="0" tIns="19103" rIns="0" bIns="0" rtlCol="0">
            <a:spAutoFit/>
          </a:bodyPr>
          <a:lstStyle/>
          <a:p>
            <a:pPr marL="19103">
              <a:spcBef>
                <a:spcPts val="150"/>
              </a:spcBef>
            </a:pPr>
            <a:r>
              <a:rPr sz="1504" spc="-23" dirty="0">
                <a:latin typeface="Graphik Regular" panose="020B0503030202060203" pitchFamily="34" charset="77"/>
                <a:cs typeface="Graphik"/>
              </a:rPr>
              <a:t>Nonp</a:t>
            </a:r>
            <a:r>
              <a:rPr sz="1504" spc="-38" dirty="0">
                <a:latin typeface="Graphik Regular" panose="020B0503030202060203" pitchFamily="34" charset="77"/>
                <a:cs typeface="Graphik"/>
              </a:rPr>
              <a:t>r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ofits</a:t>
            </a:r>
            <a:endParaRPr sz="1504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306616" y="4234766"/>
            <a:ext cx="1033476" cy="696461"/>
          </a:xfrm>
          <a:prstGeom prst="rect">
            <a:avLst/>
          </a:prstGeom>
        </p:spPr>
        <p:txBody>
          <a:bodyPr vert="horz" wrap="square" lIns="0" tIns="42025" rIns="0" bIns="0" rtlCol="0">
            <a:spAutoFit/>
          </a:bodyPr>
          <a:lstStyle/>
          <a:p>
            <a:pPr marL="19103" marR="7641" algn="just">
              <a:lnSpc>
                <a:spcPts val="1655"/>
              </a:lnSpc>
              <a:spcBef>
                <a:spcPts val="329"/>
              </a:spcBef>
            </a:pPr>
            <a:r>
              <a:rPr sz="1504" spc="-23" dirty="0">
                <a:latin typeface="Graphik Regular" panose="020B0503030202060203" pitchFamily="34" charset="77"/>
                <a:cs typeface="Graphik"/>
              </a:rPr>
              <a:t>Startups</a:t>
            </a:r>
            <a:r>
              <a:rPr sz="1504" spc="-90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or </a:t>
            </a:r>
            <a:r>
              <a:rPr sz="1504" spc="-15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new</a:t>
            </a:r>
            <a:r>
              <a:rPr lang="en-US" sz="1504" spc="-23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digital  companies</a:t>
            </a:r>
            <a:endParaRPr sz="1504" dirty="0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152636" y="4234766"/>
            <a:ext cx="1410760" cy="696461"/>
          </a:xfrm>
          <a:prstGeom prst="rect">
            <a:avLst/>
          </a:prstGeom>
        </p:spPr>
        <p:txBody>
          <a:bodyPr vert="horz" wrap="square" lIns="0" tIns="42025" rIns="0" bIns="0" rtlCol="0">
            <a:spAutoFit/>
          </a:bodyPr>
          <a:lstStyle/>
          <a:p>
            <a:pPr marL="19103" marR="7641">
              <a:lnSpc>
                <a:spcPts val="1655"/>
              </a:lnSpc>
              <a:spcBef>
                <a:spcPts val="329"/>
              </a:spcBef>
            </a:pPr>
            <a:r>
              <a:rPr sz="1504" spc="-30" dirty="0">
                <a:latin typeface="Graphik Regular" panose="020B0503030202060203" pitchFamily="34" charset="77"/>
                <a:cs typeface="Graphik"/>
              </a:rPr>
              <a:t>C</a:t>
            </a:r>
            <a:r>
              <a:rPr sz="1504" spc="-38" dirty="0">
                <a:latin typeface="Graphik Regular" panose="020B0503030202060203" pitchFamily="34" charset="77"/>
                <a:cs typeface="Graphik"/>
              </a:rPr>
              <a:t>row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dsou</a:t>
            </a:r>
            <a:r>
              <a:rPr sz="1504" spc="-45" dirty="0">
                <a:latin typeface="Graphik Regular" panose="020B0503030202060203" pitchFamily="34" charset="77"/>
                <a:cs typeface="Graphik"/>
              </a:rPr>
              <a:t>r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cing  </a:t>
            </a:r>
            <a:r>
              <a:rPr sz="1504" spc="-30" dirty="0">
                <a:latin typeface="Graphik Regular" panose="020B0503030202060203" pitchFamily="34" charset="77"/>
                <a:cs typeface="Graphik"/>
              </a:rPr>
              <a:t>platform </a:t>
            </a:r>
            <a:r>
              <a:rPr sz="1504" spc="-38" dirty="0">
                <a:latin typeface="Graphik Regular" panose="020B0503030202060203" pitchFamily="34" charset="77"/>
                <a:cs typeface="Graphik"/>
              </a:rPr>
              <a:t>for  </a:t>
            </a:r>
            <a:r>
              <a:rPr sz="1504" spc="-23" dirty="0">
                <a:latin typeface="Graphik Regular" panose="020B0503030202060203" pitchFamily="34" charset="77"/>
                <a:cs typeface="Graphik"/>
              </a:rPr>
              <a:t>ideas</a:t>
            </a:r>
            <a:endParaRPr sz="1504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8768480" y="6170290"/>
            <a:ext cx="114618" cy="11461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76200"/>
                </a:moveTo>
                <a:lnTo>
                  <a:pt x="76200" y="76200"/>
                </a:lnTo>
                <a:lnTo>
                  <a:pt x="76200" y="0"/>
                </a:lnTo>
                <a:lnTo>
                  <a:pt x="0" y="0"/>
                </a:lnTo>
                <a:lnTo>
                  <a:pt x="0" y="76200"/>
                </a:lnTo>
                <a:close/>
              </a:path>
            </a:pathLst>
          </a:custGeom>
          <a:solidFill>
            <a:srgbClr val="A100FF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0575612" y="6170290"/>
            <a:ext cx="114618" cy="11461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76200"/>
                </a:moveTo>
                <a:lnTo>
                  <a:pt x="76200" y="76200"/>
                </a:lnTo>
                <a:lnTo>
                  <a:pt x="76200" y="0"/>
                </a:lnTo>
                <a:lnTo>
                  <a:pt x="0" y="0"/>
                </a:lnTo>
                <a:lnTo>
                  <a:pt x="0" y="76200"/>
                </a:lnTo>
                <a:close/>
              </a:path>
            </a:pathLst>
          </a:custGeom>
          <a:solidFill>
            <a:srgbClr val="939598"/>
          </a:solidFill>
        </p:spPr>
        <p:txBody>
          <a:bodyPr wrap="square" lIns="0" tIns="0" rIns="0" bIns="0" rtlCol="0"/>
          <a:lstStyle/>
          <a:p>
            <a:endParaRPr sz="2708">
              <a:latin typeface="Graphik Regular" panose="020B0503030202060203" pitchFamily="34" charset="77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921297" y="6096550"/>
            <a:ext cx="1397389" cy="221766"/>
          </a:xfrm>
          <a:prstGeom prst="rect">
            <a:avLst/>
          </a:prstGeom>
        </p:spPr>
        <p:txBody>
          <a:bodyPr vert="horz" wrap="square" lIns="0" tIns="36296" rIns="0" bIns="0" rtlCol="0">
            <a:spAutoFit/>
          </a:bodyPr>
          <a:lstStyle/>
          <a:p>
            <a:pPr marL="19103">
              <a:spcBef>
                <a:spcPts val="286"/>
              </a:spcBef>
            </a:pPr>
            <a:r>
              <a:rPr sz="1203" spc="-23" dirty="0">
                <a:latin typeface="Graphik Regular" panose="020B0503030202060203" pitchFamily="34" charset="77"/>
                <a:cs typeface="Graphik"/>
              </a:rPr>
              <a:t>Innovation</a:t>
            </a:r>
            <a:r>
              <a:rPr sz="1203" spc="-45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203" spc="-23" dirty="0">
                <a:latin typeface="Graphik Regular" panose="020B0503030202060203" pitchFamily="34" charset="77"/>
                <a:cs typeface="Graphik"/>
              </a:rPr>
              <a:t>Leaders</a:t>
            </a:r>
            <a:endParaRPr sz="1203">
              <a:latin typeface="Graphik Regular" panose="020B0503030202060203" pitchFamily="34" charset="77"/>
              <a:cs typeface="Graphik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0728446" y="6096550"/>
            <a:ext cx="1052579" cy="509472"/>
          </a:xfrm>
          <a:prstGeom prst="rect">
            <a:avLst/>
          </a:prstGeom>
        </p:spPr>
        <p:txBody>
          <a:bodyPr vert="horz" wrap="square" lIns="0" tIns="36296" rIns="0" bIns="0" rtlCol="0">
            <a:spAutoFit/>
          </a:bodyPr>
          <a:lstStyle/>
          <a:p>
            <a:pPr marR="37252" algn="r">
              <a:spcBef>
                <a:spcPts val="286"/>
              </a:spcBef>
            </a:pPr>
            <a:r>
              <a:rPr sz="1203" spc="-30" dirty="0">
                <a:latin typeface="Graphik Regular" panose="020B0503030202060203" pitchFamily="34" charset="77"/>
                <a:cs typeface="Graphik"/>
              </a:rPr>
              <a:t>Everyone</a:t>
            </a:r>
            <a:r>
              <a:rPr sz="1203" spc="-98" dirty="0">
                <a:latin typeface="Graphik Regular" panose="020B0503030202060203" pitchFamily="34" charset="77"/>
                <a:cs typeface="Graphik"/>
              </a:rPr>
              <a:t> </a:t>
            </a:r>
            <a:r>
              <a:rPr sz="1203" spc="-15" dirty="0">
                <a:latin typeface="Graphik Regular" panose="020B0503030202060203" pitchFamily="34" charset="77"/>
                <a:cs typeface="Graphik"/>
              </a:rPr>
              <a:t>Else</a:t>
            </a:r>
            <a:endParaRPr sz="1203" dirty="0">
              <a:latin typeface="Graphik Regular" panose="020B0503030202060203" pitchFamily="34" charset="77"/>
              <a:cs typeface="Graphik"/>
            </a:endParaRPr>
          </a:p>
          <a:p>
            <a:pPr marR="27700" algn="r">
              <a:spcBef>
                <a:spcPts val="820"/>
              </a:spcBef>
            </a:pPr>
            <a:fld id="{81D60167-4931-47E6-BA6A-407CBD079E47}" type="slidenum">
              <a:rPr sz="1203" b="1" dirty="0">
                <a:latin typeface="Graphik Black" panose="020B0503030202060203" pitchFamily="34" charset="77"/>
                <a:cs typeface="Graphik-Black"/>
              </a:rPr>
              <a:pPr marR="27700" algn="r">
                <a:spcBef>
                  <a:spcPts val="820"/>
                </a:spcBef>
              </a:pPr>
              <a:t>14</a:t>
            </a:fld>
            <a:endParaRPr sz="1203" b="1" dirty="0">
              <a:latin typeface="Graphik Black" panose="020B0503030202060203" pitchFamily="34" charset="77"/>
              <a:cs typeface="Graphik-Black"/>
            </a:endParaRPr>
          </a:p>
        </p:txBody>
      </p:sp>
      <p:sp>
        <p:nvSpPr>
          <p:cNvPr id="24" name="object 24"/>
          <p:cNvSpPr txBox="1">
            <a:spLocks noGrp="1"/>
          </p:cNvSpPr>
          <p:nvPr>
            <p:ph type="ftr" sz="quarter" idx="5"/>
          </p:nvPr>
        </p:nvSpPr>
        <p:spPr>
          <a:xfrm>
            <a:off x="575218" y="9894411"/>
            <a:ext cx="8596377" cy="221766"/>
          </a:xfrm>
          <a:prstGeom prst="rect">
            <a:avLst/>
          </a:prstGeom>
        </p:spPr>
        <p:txBody>
          <a:bodyPr vert="horz" wrap="square" lIns="0" tIns="36296" rIns="0" bIns="0" rtlCol="0" anchor="b" anchorCtr="0">
            <a:spAutoFit/>
          </a:bodyPr>
          <a:lstStyle/>
          <a:p>
            <a:pPr marL="19103">
              <a:spcBef>
                <a:spcPts val="286"/>
              </a:spcBef>
            </a:pPr>
            <a:r>
              <a:rPr spc="-15" dirty="0"/>
              <a:t>© </a:t>
            </a:r>
            <a:r>
              <a:rPr spc="-30" dirty="0"/>
              <a:t>2018 </a:t>
            </a:r>
            <a:r>
              <a:rPr spc="-38" dirty="0"/>
              <a:t>Accenture </a:t>
            </a:r>
            <a:r>
              <a:rPr spc="-30" dirty="0"/>
              <a:t>All rights</a:t>
            </a:r>
            <a:r>
              <a:rPr spc="-8" dirty="0"/>
              <a:t> </a:t>
            </a:r>
            <a:r>
              <a:rPr spc="-38" dirty="0"/>
              <a:t>reserved.</a:t>
            </a:r>
          </a:p>
        </p:txBody>
      </p:sp>
    </p:spTree>
    <p:extLst>
      <p:ext uri="{BB962C8B-B14F-4D97-AF65-F5344CB8AC3E}">
        <p14:creationId xmlns:p14="http://schemas.microsoft.com/office/powerpoint/2010/main" val="5225507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4D00B5-53FF-4DC4-A1D1-DE22A2AEE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2581"/>
            <a:ext cx="8948522" cy="1708039"/>
          </a:xfrm>
        </p:spPr>
        <p:txBody>
          <a:bodyPr/>
          <a:lstStyle/>
          <a:p>
            <a:r>
              <a:rPr lang="en-GB" dirty="0"/>
              <a:t>Interconnected and global</a:t>
            </a:r>
          </a:p>
        </p:txBody>
      </p:sp>
    </p:spTree>
    <p:extLst>
      <p:ext uri="{BB962C8B-B14F-4D97-AF65-F5344CB8AC3E}">
        <p14:creationId xmlns:p14="http://schemas.microsoft.com/office/powerpoint/2010/main" val="2997662399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xmlns="" id="{BC661478-0E67-4784-BA0B-B0FD3750EF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631" y="707924"/>
            <a:ext cx="5416738" cy="5581881"/>
          </a:xfrm>
          <a:prstGeom prst="rect">
            <a:avLst/>
          </a:prstGeom>
        </p:spPr>
      </p:pic>
      <p:sp>
        <p:nvSpPr>
          <p:cNvPr id="4" name="Text Placeholder 5">
            <a:extLst>
              <a:ext uri="{FF2B5EF4-FFF2-40B4-BE49-F238E27FC236}">
                <a16:creationId xmlns:a16="http://schemas.microsoft.com/office/drawing/2014/main" xmlns="" id="{0A91ED7B-3AD7-440F-8190-E4BA1138F630}"/>
              </a:ext>
            </a:extLst>
          </p:cNvPr>
          <p:cNvSpPr txBox="1"/>
          <p:nvPr/>
        </p:nvSpPr>
        <p:spPr>
          <a:xfrm>
            <a:off x="351504" y="2836994"/>
            <a:ext cx="10636794" cy="2622902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4000" b="1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Graphik" panose="020B0503030202060203" pitchFamily="34" charset="0"/>
              <a:buChar char="–"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Graphik" panose="020B0503030202060203" pitchFamily="34" charset="0"/>
              <a:buNone/>
              <a:defRPr sz="1800" b="0" kern="1200" cap="non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971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Graphik"/>
              </a:rPr>
              <a:t>QUESTIONS, COMMENTS</a:t>
            </a: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Graphik"/>
              </a:rPr>
              <a:t>PARI SABETY</a:t>
            </a:r>
          </a:p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ts val="12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J.P.SABETY@ACCENTURE.COM</a:t>
            </a:r>
            <a:b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/>
            </a:r>
            <a:b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</a:b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1504" y="5459896"/>
            <a:ext cx="5145529" cy="10046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en-US" sz="3200" b="1" dirty="0">
              <a:solidFill>
                <a:srgbClr val="7E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73640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EEC8C3BB-9793-43B8-80FC-226816E18B9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b="1" dirty="0">
                <a:latin typeface="Arial Black" panose="020B0A04020102020204" pitchFamily="34" charset="0"/>
              </a:rPr>
              <a:t>How to leverage strategic alliances within and outside your organization?</a:t>
            </a:r>
          </a:p>
          <a:p>
            <a:pPr marL="558924" lvl="1" indent="-342900"/>
            <a:r>
              <a:rPr lang="en-US" dirty="0">
                <a:latin typeface="Arial Black" panose="020B0A04020102020204" pitchFamily="34" charset="0"/>
              </a:rPr>
              <a:t>Mentorship </a:t>
            </a:r>
          </a:p>
          <a:p>
            <a:pPr marL="558924" lvl="1" indent="-342900"/>
            <a:r>
              <a:rPr lang="en-US" dirty="0">
                <a:latin typeface="Arial Black" panose="020B0A04020102020204" pitchFamily="34" charset="0"/>
              </a:rPr>
              <a:t>Sponsorships</a:t>
            </a:r>
          </a:p>
          <a:p>
            <a:pPr marL="558924" lvl="1" indent="-342900"/>
            <a:r>
              <a:rPr lang="en-US" dirty="0">
                <a:latin typeface="Arial Black" panose="020B0A04020102020204" pitchFamily="34" charset="0"/>
              </a:rPr>
              <a:t>Expanded Use of Technology-Social Media</a:t>
            </a:r>
          </a:p>
          <a:p>
            <a:pPr marL="558924" lvl="1" indent="-342900"/>
            <a:r>
              <a:rPr lang="en-US" dirty="0">
                <a:latin typeface="Arial Black" panose="020B0A04020102020204" pitchFamily="34" charset="0"/>
              </a:rPr>
              <a:t>Building Networks that are Unconventional  </a:t>
            </a:r>
          </a:p>
          <a:p>
            <a:pPr marL="558924" lvl="1" indent="-342900"/>
            <a:r>
              <a:rPr lang="en-US" dirty="0">
                <a:latin typeface="Arial Black" panose="020B0A04020102020204" pitchFamily="34" charset="0"/>
              </a:rPr>
              <a:t>Interconnected, Globa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01B93BF2-6EE6-4A82-A483-CC0C4402EB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 today</a:t>
            </a:r>
          </a:p>
        </p:txBody>
      </p:sp>
    </p:spTree>
    <p:extLst>
      <p:ext uri="{BB962C8B-B14F-4D97-AF65-F5344CB8AC3E}">
        <p14:creationId xmlns:p14="http://schemas.microsoft.com/office/powerpoint/2010/main" val="3795728913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pyright © 201</a:t>
            </a:r>
            <a:r>
              <a:rPr lang="pl-PL"/>
              <a:t>8</a:t>
            </a:r>
            <a:r>
              <a:rPr lang="en-US"/>
              <a:t>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3</a:t>
            </a:fld>
            <a:endParaRPr lang="en-US"/>
          </a:p>
        </p:txBody>
      </p:sp>
      <p:sp>
        <p:nvSpPr>
          <p:cNvPr id="4" name="Title 2"/>
          <p:cNvSpPr txBox="1"/>
          <p:nvPr/>
        </p:nvSpPr>
        <p:spPr>
          <a:xfrm>
            <a:off x="380999" y="380999"/>
            <a:ext cx="10522528" cy="19747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WHY ARE STRATEGIC ALLIANCES IMPORTANT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25548" y="2115119"/>
            <a:ext cx="9240866" cy="1585049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>
              <a:lnSpc>
                <a:spcPts val="4000"/>
              </a:lnSpc>
            </a:pPr>
            <a:r>
              <a:rPr lang="en-US" sz="3600" b="1" dirty="0">
                <a:solidFill>
                  <a:srgbClr val="7E00FF"/>
                </a:solidFill>
                <a:latin typeface="+mj-lt"/>
              </a:rPr>
              <a:t>#METOO</a:t>
            </a:r>
          </a:p>
          <a:p>
            <a:pPr>
              <a:lnSpc>
                <a:spcPts val="4000"/>
              </a:lnSpc>
            </a:pPr>
            <a:r>
              <a:rPr lang="en-US" sz="3600" b="1" dirty="0">
                <a:solidFill>
                  <a:srgbClr val="7E00FF"/>
                </a:solidFill>
                <a:latin typeface="+mj-lt"/>
              </a:rPr>
              <a:t>#INCLUSIONRIDER</a:t>
            </a:r>
          </a:p>
          <a:p>
            <a:pPr>
              <a:lnSpc>
                <a:spcPts val="4000"/>
              </a:lnSpc>
            </a:pPr>
            <a:endParaRPr lang="en-US" sz="2800" b="1" dirty="0">
              <a:solidFill>
                <a:srgbClr val="E5044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008078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pyright © 201</a:t>
            </a:r>
            <a:r>
              <a:rPr lang="pl-PL" dirty="0"/>
              <a:t>8</a:t>
            </a:r>
            <a:r>
              <a:rPr lang="en-US" dirty="0"/>
              <a:t>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t>4</a:t>
            </a:fld>
            <a:endParaRPr lang="en-US"/>
          </a:p>
        </p:txBody>
      </p:sp>
      <p:sp>
        <p:nvSpPr>
          <p:cNvPr id="4" name="Title 2"/>
          <p:cNvSpPr txBox="1"/>
          <p:nvPr/>
        </p:nvSpPr>
        <p:spPr>
          <a:xfrm>
            <a:off x="380999" y="380999"/>
            <a:ext cx="10522528" cy="9906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Getting to equal:</a:t>
            </a:r>
          </a:p>
          <a:p>
            <a:r>
              <a:rPr lang="en-US" sz="3200" dirty="0"/>
              <a:t>Accenture research for </a:t>
            </a:r>
            <a:r>
              <a:rPr lang="en-US" sz="3200" dirty="0" err="1"/>
              <a:t>iwd</a:t>
            </a:r>
            <a:r>
              <a:rPr lang="en-US" sz="3200" dirty="0"/>
              <a:t> 2017/201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63554" y="1752599"/>
            <a:ext cx="10942648" cy="312393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>
              <a:lnSpc>
                <a:spcPts val="4000"/>
              </a:lnSpc>
            </a:pPr>
            <a:endParaRPr lang="en-US" sz="2800" b="1" dirty="0">
              <a:latin typeface="+mj-lt"/>
            </a:endParaRPr>
          </a:p>
          <a:p>
            <a:pPr marL="457200" indent="-457200">
              <a:lnSpc>
                <a:spcPts val="4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+mj-lt"/>
              </a:rPr>
              <a:t>2017:  What is impact of </a:t>
            </a:r>
            <a:r>
              <a:rPr lang="en-US" sz="2800" b="1" dirty="0">
                <a:solidFill>
                  <a:schemeClr val="accent1"/>
                </a:solidFill>
                <a:latin typeface="+mj-lt"/>
              </a:rPr>
              <a:t>digital and technology </a:t>
            </a:r>
            <a:r>
              <a:rPr lang="en-US" sz="2800" b="1" dirty="0">
                <a:latin typeface="+mj-lt"/>
              </a:rPr>
              <a:t>on the advancement of women? </a:t>
            </a:r>
          </a:p>
          <a:p>
            <a:pPr marL="457200" indent="-457200">
              <a:lnSpc>
                <a:spcPts val="4000"/>
              </a:lnSpc>
              <a:buFont typeface="Arial" panose="020B0604020202020204" pitchFamily="34" charset="0"/>
              <a:buChar char="•"/>
            </a:pPr>
            <a:r>
              <a:rPr lang="en-US" sz="2800" b="1" dirty="0">
                <a:latin typeface="+mj-lt"/>
              </a:rPr>
              <a:t>2018:  What is effect of </a:t>
            </a:r>
            <a:r>
              <a:rPr lang="en-US" sz="2800" b="1" dirty="0">
                <a:solidFill>
                  <a:srgbClr val="7E00FF"/>
                </a:solidFill>
                <a:latin typeface="+mj-lt"/>
              </a:rPr>
              <a:t>workplace culture on women’s advancement</a:t>
            </a:r>
            <a:r>
              <a:rPr lang="en-US" sz="2800" b="1" dirty="0">
                <a:latin typeface="+mj-lt"/>
              </a:rPr>
              <a:t>?</a:t>
            </a:r>
          </a:p>
          <a:p>
            <a:pPr>
              <a:lnSpc>
                <a:spcPts val="4000"/>
              </a:lnSpc>
            </a:pPr>
            <a:endParaRPr lang="en-US" sz="2800" b="1" dirty="0">
              <a:solidFill>
                <a:srgbClr val="7E00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042023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8 Accenture. All rights reserved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F9AC08D-23A9-440E-BCB9-AA1E9877CC38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382219" y="1510599"/>
            <a:ext cx="115688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defRPr/>
            </a:pPr>
            <a:r>
              <a:rPr lang="en-US" sz="1600" b="1">
                <a:solidFill>
                  <a:srgbClr val="FF9900"/>
                </a:solidFill>
                <a:cs typeface="Arial" panose="020B0604020202020204" pitchFamily="34" charset="0"/>
              </a:rPr>
              <a:t>Sample: equally split between working women and working men</a:t>
            </a:r>
          </a:p>
        </p:txBody>
      </p:sp>
      <p:grpSp>
        <p:nvGrpSpPr>
          <p:cNvPr id="190" name="Gruppieren 6"/>
          <p:cNvGrpSpPr/>
          <p:nvPr/>
        </p:nvGrpSpPr>
        <p:grpSpPr>
          <a:xfrm>
            <a:off x="814188" y="2337357"/>
            <a:ext cx="11183977" cy="3960463"/>
            <a:chOff x="141288" y="1547813"/>
            <a:chExt cx="8858250" cy="4321175"/>
          </a:xfrm>
          <a:solidFill>
            <a:srgbClr val="FFDD99"/>
          </a:solidFill>
          <a:effectLst/>
        </p:grpSpPr>
        <p:sp>
          <p:nvSpPr>
            <p:cNvPr id="191" name="USA (Alaska)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41288" y="1836738"/>
              <a:ext cx="1236662" cy="53498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2" name="Zimbabwe" descr="© INSCALE GmbH, 05.05.2010&#10;http://www.presentationload.com/"/>
            <p:cNvSpPr/>
            <p:nvPr/>
          </p:nvSpPr>
          <p:spPr bwMode="gray">
            <a:xfrm>
              <a:off x="4930775" y="4584701"/>
              <a:ext cx="222250" cy="222250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3" name="Zambia" descr="© INSCALE GmbH, 05.05.2010&#10;http://www.presentationload.com/"/>
            <p:cNvSpPr/>
            <p:nvPr/>
          </p:nvSpPr>
          <p:spPr bwMode="gray">
            <a:xfrm>
              <a:off x="4841875" y="4341813"/>
              <a:ext cx="334962" cy="322263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4" name="Yemen" descr="© INSCALE GmbH, 05.05.2010&#10;http://www.presentationload.com/"/>
            <p:cNvSpPr/>
            <p:nvPr/>
          </p:nvSpPr>
          <p:spPr bwMode="gray">
            <a:xfrm>
              <a:off x="5424488" y="3460751"/>
              <a:ext cx="295275" cy="201613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5" name="Western Sahara" descr="© INSCALE GmbH, 05.05.2010&#10;http://www.presentationload.com/"/>
            <p:cNvSpPr/>
            <p:nvPr/>
          </p:nvSpPr>
          <p:spPr bwMode="gray">
            <a:xfrm>
              <a:off x="3741738" y="3181351"/>
              <a:ext cx="241300" cy="206375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6" name="West Bank" descr="© INSCALE GmbH, 05.05.2010&#10;http://www.presentationload.com/"/>
            <p:cNvSpPr/>
            <p:nvPr/>
          </p:nvSpPr>
          <p:spPr bwMode="gray">
            <a:xfrm>
              <a:off x="5184775" y="3025776"/>
              <a:ext cx="17462" cy="38100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2147483647 h 96"/>
                <a:gd name="T4" fmla="*/ 2147483647 w 42"/>
                <a:gd name="T5" fmla="*/ 2147483647 h 96"/>
                <a:gd name="T6" fmla="*/ 2147483647 w 42"/>
                <a:gd name="T7" fmla="*/ 0 h 96"/>
                <a:gd name="T8" fmla="*/ 2147483647 w 42"/>
                <a:gd name="T9" fmla="*/ 0 h 96"/>
                <a:gd name="T10" fmla="*/ 0 w 42"/>
                <a:gd name="T11" fmla="*/ 2147483647 h 96"/>
                <a:gd name="T12" fmla="*/ 0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2147483647 w 42"/>
                <a:gd name="T21" fmla="*/ 2147483647 h 96"/>
                <a:gd name="T22" fmla="*/ 2147483647 w 42"/>
                <a:gd name="T23" fmla="*/ 2147483647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"/>
                <a:gd name="T37" fmla="*/ 0 h 96"/>
                <a:gd name="T38" fmla="*/ 42 w 4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" h="96">
                  <a:moveTo>
                    <a:pt x="24" y="78"/>
                  </a:moveTo>
                  <a:lnTo>
                    <a:pt x="30" y="84"/>
                  </a:lnTo>
                  <a:lnTo>
                    <a:pt x="42" y="72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0" y="18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2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24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7" name="Uzbekistan" descr="© INSCALE GmbH, 05.05.2010&#10;http://www.presentationload.com/"/>
            <p:cNvSpPr/>
            <p:nvPr/>
          </p:nvSpPr>
          <p:spPr bwMode="gray">
            <a:xfrm>
              <a:off x="5683250" y="2605088"/>
              <a:ext cx="476250" cy="268288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8" name="Vietnam" descr="© INSCALE GmbH, 05.05.2010&#10;http://www.presentationload.com/"/>
            <p:cNvSpPr/>
            <p:nvPr/>
          </p:nvSpPr>
          <p:spPr bwMode="gray">
            <a:xfrm>
              <a:off x="7086600" y="3319463"/>
              <a:ext cx="244475" cy="47942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9" name="Venezuel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120900" y="3683001"/>
              <a:ext cx="384175" cy="374650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0" name="US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950912" y="2481263"/>
              <a:ext cx="1576387" cy="781050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1" name="Uruguay" descr="© INSCALE GmbH, 05.05.2010&#10;http://www.presentationload.com/"/>
            <p:cNvSpPr/>
            <p:nvPr/>
          </p:nvSpPr>
          <p:spPr bwMode="gray">
            <a:xfrm>
              <a:off x="2632075" y="5056188"/>
              <a:ext cx="149225" cy="15398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2" name="United Kingdom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065588" y="2133601"/>
              <a:ext cx="231775" cy="331788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3" name="United Arab Emirates" descr="© INSCALE GmbH, 05.05.2010&#10;http://www.presentationload.com/"/>
            <p:cNvSpPr/>
            <p:nvPr/>
          </p:nvSpPr>
          <p:spPr bwMode="gray">
            <a:xfrm>
              <a:off x="5662613" y="3217863"/>
              <a:ext cx="134937" cy="12858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4" name="Ukraine" descr="© INSCALE GmbH, 05.05.2010&#10;http://www.presentationload.com/"/>
            <p:cNvSpPr/>
            <p:nvPr/>
          </p:nvSpPr>
          <p:spPr bwMode="gray">
            <a:xfrm>
              <a:off x="4806950" y="2389188"/>
              <a:ext cx="449262" cy="252413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5" name="Ugand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62538" y="3943351"/>
              <a:ext cx="157162" cy="185738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6" name="Turkmenistan" descr="© INSCALE GmbH, 05.05.2010&#10;http://www.presentationload.com/"/>
            <p:cNvSpPr/>
            <p:nvPr/>
          </p:nvSpPr>
          <p:spPr bwMode="gray">
            <a:xfrm>
              <a:off x="5610225" y="2692401"/>
              <a:ext cx="406400" cy="242888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6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7" name="Turke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899025" y="2711451"/>
              <a:ext cx="534987" cy="20320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8" name="Tunisia" descr="© INSCALE GmbH, 05.05.2010&#10;http://www.presentationload.com/"/>
            <p:cNvSpPr/>
            <p:nvPr/>
          </p:nvSpPr>
          <p:spPr bwMode="gray">
            <a:xfrm>
              <a:off x="4433888" y="2868613"/>
              <a:ext cx="109537" cy="228600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9" name="Togo" descr="© INSCALE GmbH, 05.05.2010&#10;http://www.presentationload.com/"/>
            <p:cNvSpPr/>
            <p:nvPr/>
          </p:nvSpPr>
          <p:spPr bwMode="gray">
            <a:xfrm>
              <a:off x="4210050" y="3719513"/>
              <a:ext cx="57150" cy="16192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0" name="Thailand" descr="© INSCALE GmbH, 05.05.2010&#10;http://www.presentationload.com/"/>
            <p:cNvSpPr/>
            <p:nvPr/>
          </p:nvSpPr>
          <p:spPr bwMode="gray">
            <a:xfrm>
              <a:off x="6969125" y="3416301"/>
              <a:ext cx="249237" cy="477838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1" name="Tanza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060950" y="4111626"/>
              <a:ext cx="309562" cy="34925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2" name="Tajikistan" descr="© INSCALE GmbH, 05.05.2010&#10;http://www.presentationload.com/"/>
            <p:cNvSpPr/>
            <p:nvPr/>
          </p:nvSpPr>
          <p:spPr bwMode="gray">
            <a:xfrm>
              <a:off x="6021388" y="2749551"/>
              <a:ext cx="222250" cy="141288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3" name="Taiwan" descr="© INSCALE GmbH, 05.05.2010&#10;http://www.presentationload.com/"/>
            <p:cNvSpPr/>
            <p:nvPr/>
          </p:nvSpPr>
          <p:spPr bwMode="gray">
            <a:xfrm>
              <a:off x="7577138" y="3257551"/>
              <a:ext cx="47625" cy="107950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4" name="Syria" descr="© INSCALE GmbH, 05.05.2010&#10;http://www.presentationload.com/"/>
            <p:cNvSpPr/>
            <p:nvPr/>
          </p:nvSpPr>
          <p:spPr bwMode="gray">
            <a:xfrm>
              <a:off x="5189538" y="2865438"/>
              <a:ext cx="180975" cy="166688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2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5" name="Switzerland" descr="© INSCALE GmbH, 05.05.2010&#10;http://www.presentationload.com/"/>
            <p:cNvSpPr/>
            <p:nvPr/>
          </p:nvSpPr>
          <p:spPr bwMode="gray">
            <a:xfrm>
              <a:off x="4398963" y="2530476"/>
              <a:ext cx="115887" cy="63500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6" name="Swede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530725" y="1897063"/>
              <a:ext cx="279400" cy="398463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7" name="Swaziland" descr="© INSCALE GmbH, 05.05.2010&#10;http://www.presentationload.com/"/>
            <p:cNvSpPr/>
            <p:nvPr/>
          </p:nvSpPr>
          <p:spPr bwMode="gray">
            <a:xfrm>
              <a:off x="5080000" y="4911726"/>
              <a:ext cx="41275" cy="5397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8" name="Suriname" descr="© INSCALE GmbH, 05.05.2010&#10;http://www.presentationload.com/"/>
            <p:cNvSpPr/>
            <p:nvPr/>
          </p:nvSpPr>
          <p:spPr bwMode="gray">
            <a:xfrm>
              <a:off x="2551113" y="3884613"/>
              <a:ext cx="117475" cy="134938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9" name="Sri Lanka" descr="© INSCALE GmbH, 05.05.2010&#10;http://www.presentationload.com/"/>
            <p:cNvSpPr/>
            <p:nvPr/>
          </p:nvSpPr>
          <p:spPr bwMode="gray">
            <a:xfrm>
              <a:off x="6491288" y="3767138"/>
              <a:ext cx="68262" cy="122238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0" name="Spai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3997325" y="2660651"/>
              <a:ext cx="352425" cy="247650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1" name="Somalia" descr="© INSCALE GmbH, 05.05.2010&#10;http://www.presentationload.com/"/>
            <p:cNvSpPr/>
            <p:nvPr/>
          </p:nvSpPr>
          <p:spPr bwMode="gray">
            <a:xfrm>
              <a:off x="5389563" y="3687763"/>
              <a:ext cx="287337" cy="446088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2" name="Solomon Is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693150" y="4295776"/>
              <a:ext cx="149225" cy="139700"/>
            </a:xfrm>
            <a:custGeom>
              <a:avLst/>
              <a:gdLst>
                <a:gd name="T0" fmla="*/ 2147483647 w 372"/>
                <a:gd name="T1" fmla="*/ 0 h 348"/>
                <a:gd name="T2" fmla="*/ 2147483647 w 372"/>
                <a:gd name="T3" fmla="*/ 2147483647 h 348"/>
                <a:gd name="T4" fmla="*/ 0 w 372"/>
                <a:gd name="T5" fmla="*/ 2147483647 h 348"/>
                <a:gd name="T6" fmla="*/ 2147483647 w 372"/>
                <a:gd name="T7" fmla="*/ 2147483647 h 348"/>
                <a:gd name="T8" fmla="*/ 0 w 372"/>
                <a:gd name="T9" fmla="*/ 2147483647 h 348"/>
                <a:gd name="T10" fmla="*/ 2147483647 w 372"/>
                <a:gd name="T11" fmla="*/ 2147483647 h 348"/>
                <a:gd name="T12" fmla="*/ 2147483647 w 372"/>
                <a:gd name="T13" fmla="*/ 2147483647 h 348"/>
                <a:gd name="T14" fmla="*/ 2147483647 w 372"/>
                <a:gd name="T15" fmla="*/ 2147483647 h 348"/>
                <a:gd name="T16" fmla="*/ 2147483647 w 372"/>
                <a:gd name="T17" fmla="*/ 2147483647 h 348"/>
                <a:gd name="T18" fmla="*/ 2147483647 w 372"/>
                <a:gd name="T19" fmla="*/ 2147483647 h 348"/>
                <a:gd name="T20" fmla="*/ 2147483647 w 372"/>
                <a:gd name="T21" fmla="*/ 2147483647 h 348"/>
                <a:gd name="T22" fmla="*/ 2147483647 w 372"/>
                <a:gd name="T23" fmla="*/ 2147483647 h 348"/>
                <a:gd name="T24" fmla="*/ 2147483647 w 372"/>
                <a:gd name="T25" fmla="*/ 2147483647 h 348"/>
                <a:gd name="T26" fmla="*/ 2147483647 w 372"/>
                <a:gd name="T27" fmla="*/ 2147483647 h 348"/>
                <a:gd name="T28" fmla="*/ 2147483647 w 372"/>
                <a:gd name="T29" fmla="*/ 2147483647 h 348"/>
                <a:gd name="T30" fmla="*/ 2147483647 w 372"/>
                <a:gd name="T31" fmla="*/ 2147483647 h 348"/>
                <a:gd name="T32" fmla="*/ 2147483647 w 372"/>
                <a:gd name="T33" fmla="*/ 2147483647 h 348"/>
                <a:gd name="T34" fmla="*/ 2147483647 w 372"/>
                <a:gd name="T35" fmla="*/ 2147483647 h 348"/>
                <a:gd name="T36" fmla="*/ 2147483647 w 372"/>
                <a:gd name="T37" fmla="*/ 2147483647 h 348"/>
                <a:gd name="T38" fmla="*/ 2147483647 w 372"/>
                <a:gd name="T39" fmla="*/ 2147483647 h 348"/>
                <a:gd name="T40" fmla="*/ 2147483647 w 372"/>
                <a:gd name="T41" fmla="*/ 2147483647 h 348"/>
                <a:gd name="T42" fmla="*/ 2147483647 w 372"/>
                <a:gd name="T43" fmla="*/ 2147483647 h 348"/>
                <a:gd name="T44" fmla="*/ 2147483647 w 372"/>
                <a:gd name="T45" fmla="*/ 2147483647 h 348"/>
                <a:gd name="T46" fmla="*/ 2147483647 w 372"/>
                <a:gd name="T47" fmla="*/ 2147483647 h 348"/>
                <a:gd name="T48" fmla="*/ 2147483647 w 372"/>
                <a:gd name="T49" fmla="*/ 2147483647 h 348"/>
                <a:gd name="T50" fmla="*/ 2147483647 w 372"/>
                <a:gd name="T51" fmla="*/ 2147483647 h 348"/>
                <a:gd name="T52" fmla="*/ 2147483647 w 372"/>
                <a:gd name="T53" fmla="*/ 2147483647 h 348"/>
                <a:gd name="T54" fmla="*/ 2147483647 w 372"/>
                <a:gd name="T55" fmla="*/ 2147483647 h 348"/>
                <a:gd name="T56" fmla="*/ 2147483647 w 372"/>
                <a:gd name="T57" fmla="*/ 2147483647 h 348"/>
                <a:gd name="T58" fmla="*/ 2147483647 w 372"/>
                <a:gd name="T59" fmla="*/ 2147483647 h 348"/>
                <a:gd name="T60" fmla="*/ 2147483647 w 372"/>
                <a:gd name="T61" fmla="*/ 2147483647 h 348"/>
                <a:gd name="T62" fmla="*/ 2147483647 w 372"/>
                <a:gd name="T63" fmla="*/ 2147483647 h 3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2"/>
                <a:gd name="T97" fmla="*/ 0 h 348"/>
                <a:gd name="T98" fmla="*/ 372 w 372"/>
                <a:gd name="T99" fmla="*/ 348 h 3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2" h="348">
                  <a:moveTo>
                    <a:pt x="30" y="18"/>
                  </a:moveTo>
                  <a:lnTo>
                    <a:pt x="12" y="0"/>
                  </a:lnTo>
                  <a:lnTo>
                    <a:pt x="6" y="24"/>
                  </a:lnTo>
                  <a:lnTo>
                    <a:pt x="24" y="48"/>
                  </a:lnTo>
                  <a:lnTo>
                    <a:pt x="30" y="18"/>
                  </a:lnTo>
                  <a:close/>
                  <a:moveTo>
                    <a:pt x="0" y="126"/>
                  </a:moveTo>
                  <a:lnTo>
                    <a:pt x="18" y="132"/>
                  </a:lnTo>
                  <a:lnTo>
                    <a:pt x="36" y="102"/>
                  </a:lnTo>
                  <a:lnTo>
                    <a:pt x="0" y="102"/>
                  </a:lnTo>
                  <a:lnTo>
                    <a:pt x="0" y="126"/>
                  </a:lnTo>
                  <a:close/>
                  <a:moveTo>
                    <a:pt x="78" y="120"/>
                  </a:moveTo>
                  <a:lnTo>
                    <a:pt x="36" y="120"/>
                  </a:lnTo>
                  <a:lnTo>
                    <a:pt x="42" y="144"/>
                  </a:lnTo>
                  <a:lnTo>
                    <a:pt x="78" y="132"/>
                  </a:lnTo>
                  <a:lnTo>
                    <a:pt x="78" y="120"/>
                  </a:lnTo>
                  <a:close/>
                  <a:moveTo>
                    <a:pt x="60" y="186"/>
                  </a:moveTo>
                  <a:lnTo>
                    <a:pt x="96" y="186"/>
                  </a:lnTo>
                  <a:lnTo>
                    <a:pt x="48" y="150"/>
                  </a:lnTo>
                  <a:lnTo>
                    <a:pt x="60" y="186"/>
                  </a:lnTo>
                  <a:close/>
                  <a:moveTo>
                    <a:pt x="246" y="222"/>
                  </a:moveTo>
                  <a:lnTo>
                    <a:pt x="222" y="210"/>
                  </a:lnTo>
                  <a:lnTo>
                    <a:pt x="192" y="210"/>
                  </a:lnTo>
                  <a:lnTo>
                    <a:pt x="192" y="228"/>
                  </a:lnTo>
                  <a:lnTo>
                    <a:pt x="198" y="234"/>
                  </a:lnTo>
                  <a:lnTo>
                    <a:pt x="204" y="246"/>
                  </a:lnTo>
                  <a:lnTo>
                    <a:pt x="216" y="252"/>
                  </a:lnTo>
                  <a:lnTo>
                    <a:pt x="252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46" y="222"/>
                  </a:lnTo>
                  <a:close/>
                  <a:moveTo>
                    <a:pt x="312" y="288"/>
                  </a:moveTo>
                  <a:lnTo>
                    <a:pt x="360" y="348"/>
                  </a:lnTo>
                  <a:lnTo>
                    <a:pt x="372" y="318"/>
                  </a:lnTo>
                  <a:lnTo>
                    <a:pt x="312" y="288"/>
                  </a:lnTo>
                  <a:close/>
                  <a:moveTo>
                    <a:pt x="288" y="126"/>
                  </a:moveTo>
                  <a:lnTo>
                    <a:pt x="288" y="132"/>
                  </a:lnTo>
                  <a:lnTo>
                    <a:pt x="282" y="138"/>
                  </a:lnTo>
                  <a:lnTo>
                    <a:pt x="282" y="150"/>
                  </a:lnTo>
                  <a:lnTo>
                    <a:pt x="276" y="162"/>
                  </a:lnTo>
                  <a:lnTo>
                    <a:pt x="276" y="192"/>
                  </a:lnTo>
                  <a:lnTo>
                    <a:pt x="312" y="228"/>
                  </a:lnTo>
                  <a:lnTo>
                    <a:pt x="324" y="234"/>
                  </a:lnTo>
                  <a:lnTo>
                    <a:pt x="330" y="240"/>
                  </a:lnTo>
                  <a:lnTo>
                    <a:pt x="288" y="126"/>
                  </a:lnTo>
                  <a:close/>
                  <a:moveTo>
                    <a:pt x="120" y="60"/>
                  </a:moveTo>
                  <a:lnTo>
                    <a:pt x="120" y="66"/>
                  </a:lnTo>
                  <a:lnTo>
                    <a:pt x="126" y="78"/>
                  </a:lnTo>
                  <a:lnTo>
                    <a:pt x="138" y="90"/>
                  </a:lnTo>
                  <a:lnTo>
                    <a:pt x="150" y="108"/>
                  </a:lnTo>
                  <a:lnTo>
                    <a:pt x="168" y="120"/>
                  </a:lnTo>
                  <a:lnTo>
                    <a:pt x="192" y="144"/>
                  </a:lnTo>
                  <a:lnTo>
                    <a:pt x="204" y="150"/>
                  </a:lnTo>
                  <a:lnTo>
                    <a:pt x="216" y="150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8" y="120"/>
                  </a:lnTo>
                  <a:lnTo>
                    <a:pt x="186" y="108"/>
                  </a:lnTo>
                  <a:lnTo>
                    <a:pt x="174" y="90"/>
                  </a:lnTo>
                  <a:lnTo>
                    <a:pt x="156" y="78"/>
                  </a:lnTo>
                  <a:lnTo>
                    <a:pt x="144" y="66"/>
                  </a:lnTo>
                  <a:lnTo>
                    <a:pt x="132" y="60"/>
                  </a:lnTo>
                  <a:lnTo>
                    <a:pt x="12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3" name="Slovenia" descr="© INSCALE GmbH, 05.05.2010&#10;http://www.presentationload.com/"/>
            <p:cNvSpPr/>
            <p:nvPr/>
          </p:nvSpPr>
          <p:spPr bwMode="gray">
            <a:xfrm>
              <a:off x="4584700" y="2557463"/>
              <a:ext cx="84137" cy="49213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4" name="Slovakia" descr="© INSCALE GmbH, 05.05.2010&#10;http://www.presentationload.com/"/>
            <p:cNvSpPr/>
            <p:nvPr/>
          </p:nvSpPr>
          <p:spPr bwMode="gray">
            <a:xfrm>
              <a:off x="4670425" y="2476501"/>
              <a:ext cx="144462" cy="5873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5" name="Sierra Leone" descr="© INSCALE GmbH, 05.05.2010&#10;http://www.presentationload.com/"/>
            <p:cNvSpPr/>
            <p:nvPr/>
          </p:nvSpPr>
          <p:spPr bwMode="gray">
            <a:xfrm>
              <a:off x="3836988" y="3751263"/>
              <a:ext cx="84137" cy="10795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6" name="Senegal" descr="© INSCALE GmbH, 05.05.2010&#10;http://www.presentationload.com/"/>
            <p:cNvSpPr/>
            <p:nvPr/>
          </p:nvSpPr>
          <p:spPr bwMode="gray">
            <a:xfrm>
              <a:off x="3752850" y="3532188"/>
              <a:ext cx="168275" cy="147638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2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7" name="Saudi Arabia" descr="© INSCALE GmbH, 05.05.2010&#10;http://www.presentationload.com/"/>
            <p:cNvSpPr/>
            <p:nvPr/>
          </p:nvSpPr>
          <p:spPr bwMode="gray">
            <a:xfrm>
              <a:off x="5184775" y="3035301"/>
              <a:ext cx="596900" cy="512763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8" name="Rwanda" descr="© INSCALE GmbH, 05.05.2010&#10;http://www.presentationload.com/"/>
            <p:cNvSpPr/>
            <p:nvPr/>
          </p:nvSpPr>
          <p:spPr bwMode="gray">
            <a:xfrm>
              <a:off x="5038725" y="4111626"/>
              <a:ext cx="60325" cy="58738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9" name="Russia (Urup,Simushir)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004175" y="2178051"/>
              <a:ext cx="122237" cy="482600"/>
            </a:xfrm>
            <a:custGeom>
              <a:avLst/>
              <a:gdLst>
                <a:gd name="T0" fmla="*/ 0 w 300"/>
                <a:gd name="T1" fmla="*/ 2147483647 h 1194"/>
                <a:gd name="T2" fmla="*/ 2147483647 w 300"/>
                <a:gd name="T3" fmla="*/ 2147483647 h 1194"/>
                <a:gd name="T4" fmla="*/ 2147483647 w 300"/>
                <a:gd name="T5" fmla="*/ 2147483647 h 1194"/>
                <a:gd name="T6" fmla="*/ 2147483647 w 300"/>
                <a:gd name="T7" fmla="*/ 2147483647 h 1194"/>
                <a:gd name="T8" fmla="*/ 0 w 300"/>
                <a:gd name="T9" fmla="*/ 2147483647 h 1194"/>
                <a:gd name="T10" fmla="*/ 2147483647 w 300"/>
                <a:gd name="T11" fmla="*/ 2147483647 h 1194"/>
                <a:gd name="T12" fmla="*/ 2147483647 w 300"/>
                <a:gd name="T13" fmla="*/ 2147483647 h 1194"/>
                <a:gd name="T14" fmla="*/ 2147483647 w 300"/>
                <a:gd name="T15" fmla="*/ 2147483647 h 1194"/>
                <a:gd name="T16" fmla="*/ 2147483647 w 300"/>
                <a:gd name="T17" fmla="*/ 2147483647 h 1194"/>
                <a:gd name="T18" fmla="*/ 2147483647 w 300"/>
                <a:gd name="T19" fmla="*/ 2147483647 h 1194"/>
                <a:gd name="T20" fmla="*/ 2147483647 w 300"/>
                <a:gd name="T21" fmla="*/ 2147483647 h 1194"/>
                <a:gd name="T22" fmla="*/ 2147483647 w 300"/>
                <a:gd name="T23" fmla="*/ 2147483647 h 1194"/>
                <a:gd name="T24" fmla="*/ 2147483647 w 300"/>
                <a:gd name="T25" fmla="*/ 2147483647 h 1194"/>
                <a:gd name="T26" fmla="*/ 2147483647 w 300"/>
                <a:gd name="T27" fmla="*/ 2147483647 h 1194"/>
                <a:gd name="T28" fmla="*/ 2147483647 w 300"/>
                <a:gd name="T29" fmla="*/ 2147483647 h 1194"/>
                <a:gd name="T30" fmla="*/ 2147483647 w 300"/>
                <a:gd name="T31" fmla="*/ 2147483647 h 1194"/>
                <a:gd name="T32" fmla="*/ 2147483647 w 300"/>
                <a:gd name="T33" fmla="*/ 2147483647 h 1194"/>
                <a:gd name="T34" fmla="*/ 2147483647 w 300"/>
                <a:gd name="T35" fmla="*/ 2147483647 h 1194"/>
                <a:gd name="T36" fmla="*/ 2147483647 w 300"/>
                <a:gd name="T37" fmla="*/ 2147483647 h 1194"/>
                <a:gd name="T38" fmla="*/ 2147483647 w 300"/>
                <a:gd name="T39" fmla="*/ 2147483647 h 1194"/>
                <a:gd name="T40" fmla="*/ 2147483647 w 300"/>
                <a:gd name="T41" fmla="*/ 2147483647 h 1194"/>
                <a:gd name="T42" fmla="*/ 2147483647 w 300"/>
                <a:gd name="T43" fmla="*/ 2147483647 h 1194"/>
                <a:gd name="T44" fmla="*/ 2147483647 w 300"/>
                <a:gd name="T45" fmla="*/ 2147483647 h 1194"/>
                <a:gd name="T46" fmla="*/ 2147483647 w 300"/>
                <a:gd name="T47" fmla="*/ 2147483647 h 1194"/>
                <a:gd name="T48" fmla="*/ 2147483647 w 300"/>
                <a:gd name="T49" fmla="*/ 2147483647 h 1194"/>
                <a:gd name="T50" fmla="*/ 2147483647 w 300"/>
                <a:gd name="T51" fmla="*/ 2147483647 h 1194"/>
                <a:gd name="T52" fmla="*/ 2147483647 w 300"/>
                <a:gd name="T53" fmla="*/ 2147483647 h 1194"/>
                <a:gd name="T54" fmla="*/ 2147483647 w 300"/>
                <a:gd name="T55" fmla="*/ 2147483647 h 1194"/>
                <a:gd name="T56" fmla="*/ 2147483647 w 300"/>
                <a:gd name="T57" fmla="*/ 2147483647 h 1194"/>
                <a:gd name="T58" fmla="*/ 2147483647 w 300"/>
                <a:gd name="T59" fmla="*/ 2147483647 h 1194"/>
                <a:gd name="T60" fmla="*/ 2147483647 w 300"/>
                <a:gd name="T61" fmla="*/ 2147483647 h 1194"/>
                <a:gd name="T62" fmla="*/ 2147483647 w 300"/>
                <a:gd name="T63" fmla="*/ 2147483647 h 1194"/>
                <a:gd name="T64" fmla="*/ 2147483647 w 300"/>
                <a:gd name="T65" fmla="*/ 2147483647 h 1194"/>
                <a:gd name="T66" fmla="*/ 2147483647 w 300"/>
                <a:gd name="T67" fmla="*/ 2147483647 h 1194"/>
                <a:gd name="T68" fmla="*/ 2147483647 w 300"/>
                <a:gd name="T69" fmla="*/ 2147483647 h 1194"/>
                <a:gd name="T70" fmla="*/ 2147483647 w 300"/>
                <a:gd name="T71" fmla="*/ 2147483647 h 1194"/>
                <a:gd name="T72" fmla="*/ 2147483647 w 300"/>
                <a:gd name="T73" fmla="*/ 2147483647 h 1194"/>
                <a:gd name="T74" fmla="*/ 2147483647 w 300"/>
                <a:gd name="T75" fmla="*/ 2147483647 h 1194"/>
                <a:gd name="T76" fmla="*/ 2147483647 w 300"/>
                <a:gd name="T77" fmla="*/ 2147483647 h 1194"/>
                <a:gd name="T78" fmla="*/ 2147483647 w 300"/>
                <a:gd name="T79" fmla="*/ 2147483647 h 1194"/>
                <a:gd name="T80" fmla="*/ 2147483647 w 300"/>
                <a:gd name="T81" fmla="*/ 2147483647 h 1194"/>
                <a:gd name="T82" fmla="*/ 2147483647 w 300"/>
                <a:gd name="T83" fmla="*/ 2147483647 h 1194"/>
                <a:gd name="T84" fmla="*/ 2147483647 w 300"/>
                <a:gd name="T85" fmla="*/ 2147483647 h 1194"/>
                <a:gd name="T86" fmla="*/ 2147483647 w 300"/>
                <a:gd name="T87" fmla="*/ 2147483647 h 1194"/>
                <a:gd name="T88" fmla="*/ 2147483647 w 300"/>
                <a:gd name="T89" fmla="*/ 2147483647 h 1194"/>
                <a:gd name="T90" fmla="*/ 2147483647 w 300"/>
                <a:gd name="T91" fmla="*/ 2147483647 h 1194"/>
                <a:gd name="T92" fmla="*/ 2147483647 w 300"/>
                <a:gd name="T93" fmla="*/ 2147483647 h 1194"/>
                <a:gd name="T94" fmla="*/ 2147483647 w 300"/>
                <a:gd name="T95" fmla="*/ 2147483647 h 1194"/>
                <a:gd name="T96" fmla="*/ 2147483647 w 300"/>
                <a:gd name="T97" fmla="*/ 2147483647 h 1194"/>
                <a:gd name="T98" fmla="*/ 2147483647 w 300"/>
                <a:gd name="T99" fmla="*/ 0 h 1194"/>
                <a:gd name="T100" fmla="*/ 2147483647 w 300"/>
                <a:gd name="T101" fmla="*/ 2147483647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00"/>
                <a:gd name="T154" fmla="*/ 0 h 1194"/>
                <a:gd name="T155" fmla="*/ 300 w 30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00" h="1194">
                  <a:moveTo>
                    <a:pt x="0" y="1194"/>
                  </a:moveTo>
                  <a:lnTo>
                    <a:pt x="12" y="1188"/>
                  </a:lnTo>
                  <a:lnTo>
                    <a:pt x="36" y="1146"/>
                  </a:lnTo>
                  <a:lnTo>
                    <a:pt x="18" y="1134"/>
                  </a:lnTo>
                  <a:lnTo>
                    <a:pt x="0" y="1194"/>
                  </a:lnTo>
                  <a:close/>
                  <a:moveTo>
                    <a:pt x="114" y="1068"/>
                  </a:moveTo>
                  <a:lnTo>
                    <a:pt x="72" y="1062"/>
                  </a:lnTo>
                  <a:lnTo>
                    <a:pt x="54" y="1134"/>
                  </a:lnTo>
                  <a:lnTo>
                    <a:pt x="66" y="1134"/>
                  </a:lnTo>
                  <a:lnTo>
                    <a:pt x="84" y="1104"/>
                  </a:lnTo>
                  <a:lnTo>
                    <a:pt x="132" y="1074"/>
                  </a:lnTo>
                  <a:lnTo>
                    <a:pt x="120" y="1050"/>
                  </a:lnTo>
                  <a:lnTo>
                    <a:pt x="114" y="1068"/>
                  </a:lnTo>
                  <a:close/>
                  <a:moveTo>
                    <a:pt x="192" y="1008"/>
                  </a:moveTo>
                  <a:lnTo>
                    <a:pt x="186" y="1008"/>
                  </a:lnTo>
                  <a:lnTo>
                    <a:pt x="180" y="1020"/>
                  </a:lnTo>
                  <a:lnTo>
                    <a:pt x="174" y="1026"/>
                  </a:lnTo>
                  <a:lnTo>
                    <a:pt x="168" y="1038"/>
                  </a:lnTo>
                  <a:lnTo>
                    <a:pt x="168" y="1044"/>
                  </a:lnTo>
                  <a:lnTo>
                    <a:pt x="174" y="1050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192" y="1008"/>
                  </a:lnTo>
                  <a:close/>
                  <a:moveTo>
                    <a:pt x="282" y="636"/>
                  </a:moveTo>
                  <a:lnTo>
                    <a:pt x="264" y="654"/>
                  </a:lnTo>
                  <a:lnTo>
                    <a:pt x="276" y="678"/>
                  </a:lnTo>
                  <a:lnTo>
                    <a:pt x="258" y="678"/>
                  </a:lnTo>
                  <a:lnTo>
                    <a:pt x="258" y="702"/>
                  </a:lnTo>
                  <a:lnTo>
                    <a:pt x="282" y="702"/>
                  </a:lnTo>
                  <a:lnTo>
                    <a:pt x="294" y="684"/>
                  </a:lnTo>
                  <a:lnTo>
                    <a:pt x="282" y="654"/>
                  </a:lnTo>
                  <a:lnTo>
                    <a:pt x="300" y="654"/>
                  </a:lnTo>
                  <a:lnTo>
                    <a:pt x="282" y="636"/>
                  </a:lnTo>
                  <a:close/>
                  <a:moveTo>
                    <a:pt x="276" y="768"/>
                  </a:moveTo>
                  <a:lnTo>
                    <a:pt x="294" y="750"/>
                  </a:lnTo>
                  <a:lnTo>
                    <a:pt x="270" y="732"/>
                  </a:lnTo>
                  <a:lnTo>
                    <a:pt x="276" y="768"/>
                  </a:lnTo>
                  <a:close/>
                  <a:moveTo>
                    <a:pt x="258" y="954"/>
                  </a:moveTo>
                  <a:lnTo>
                    <a:pt x="258" y="924"/>
                  </a:lnTo>
                  <a:lnTo>
                    <a:pt x="240" y="948"/>
                  </a:lnTo>
                  <a:lnTo>
                    <a:pt x="258" y="954"/>
                  </a:lnTo>
                  <a:close/>
                  <a:moveTo>
                    <a:pt x="252" y="858"/>
                  </a:moveTo>
                  <a:lnTo>
                    <a:pt x="270" y="858"/>
                  </a:lnTo>
                  <a:lnTo>
                    <a:pt x="252" y="840"/>
                  </a:lnTo>
                  <a:lnTo>
                    <a:pt x="252" y="858"/>
                  </a:lnTo>
                  <a:close/>
                  <a:moveTo>
                    <a:pt x="126" y="24"/>
                  </a:moveTo>
                  <a:lnTo>
                    <a:pt x="144" y="60"/>
                  </a:lnTo>
                  <a:lnTo>
                    <a:pt x="174" y="24"/>
                  </a:lnTo>
                  <a:lnTo>
                    <a:pt x="162" y="0"/>
                  </a:lnTo>
                  <a:lnTo>
                    <a:pt x="126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0" name="Rus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37100" y="1582738"/>
              <a:ext cx="3641725" cy="1158875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1" name="Romania" descr="© INSCALE GmbH, 05.05.2010&#10;http://www.presentationload.com/"/>
            <p:cNvSpPr/>
            <p:nvPr/>
          </p:nvSpPr>
          <p:spPr bwMode="gray">
            <a:xfrm>
              <a:off x="4760913" y="2517776"/>
              <a:ext cx="247650" cy="147638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2" name="Qatar" descr="© INSCALE GmbH, 05.05.2010&#10;http://www.presentationload.com/"/>
            <p:cNvSpPr/>
            <p:nvPr/>
          </p:nvSpPr>
          <p:spPr bwMode="gray">
            <a:xfrm>
              <a:off x="5641975" y="3227388"/>
              <a:ext cx="26987" cy="5715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3" name="Puerto Rico" descr="© INSCALE GmbH, 05.05.2010&#10;http://www.presentationload.com/"/>
            <p:cNvSpPr/>
            <p:nvPr/>
          </p:nvSpPr>
          <p:spPr bwMode="gray">
            <a:xfrm>
              <a:off x="2322513" y="3481388"/>
              <a:ext cx="55562" cy="2381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4" name="Portugal" descr="© INSCALE GmbH, 05.05.2010&#10;http://www.presentationload.com/"/>
            <p:cNvSpPr/>
            <p:nvPr/>
          </p:nvSpPr>
          <p:spPr bwMode="gray">
            <a:xfrm>
              <a:off x="3983038" y="2714626"/>
              <a:ext cx="92075" cy="165100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2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5" name="Poland" descr="© INSCALE GmbH, 05.05.2010&#10;http://www.presentationload.com/"/>
            <p:cNvSpPr/>
            <p:nvPr/>
          </p:nvSpPr>
          <p:spPr bwMode="gray">
            <a:xfrm>
              <a:off x="4602163" y="2312988"/>
              <a:ext cx="250825" cy="180975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6" name="Philippine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562850" y="3470276"/>
              <a:ext cx="287337" cy="484188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7" name="Peru" descr="© INSCALE GmbH, 05.05.2010&#10;http://www.presentationload.com/"/>
            <p:cNvSpPr/>
            <p:nvPr/>
          </p:nvSpPr>
          <p:spPr bwMode="gray">
            <a:xfrm>
              <a:off x="1885950" y="4076701"/>
              <a:ext cx="377825" cy="600075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8" name="Paraguay" descr="© INSCALE GmbH, 05.05.2010&#10;http://www.presentationload.com/"/>
            <p:cNvSpPr/>
            <p:nvPr/>
          </p:nvSpPr>
          <p:spPr bwMode="gray">
            <a:xfrm>
              <a:off x="2463800" y="4702176"/>
              <a:ext cx="241300" cy="27305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9" name="Papua New Guine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235950" y="4138613"/>
              <a:ext cx="438150" cy="29210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0" name="Panama" descr="© INSCALE GmbH, 05.05.2010&#10;http://www.presentationload.com/"/>
            <p:cNvSpPr/>
            <p:nvPr/>
          </p:nvSpPr>
          <p:spPr bwMode="gray">
            <a:xfrm>
              <a:off x="1844675" y="3767138"/>
              <a:ext cx="163512" cy="77788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1" name="Pakistan" descr="© INSCALE GmbH, 05.05.2010&#10;http://www.presentationload.com/"/>
            <p:cNvSpPr/>
            <p:nvPr/>
          </p:nvSpPr>
          <p:spPr bwMode="gray">
            <a:xfrm>
              <a:off x="5903913" y="2878138"/>
              <a:ext cx="422275" cy="423863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2" name="Parcel Islands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367588" y="3517901"/>
              <a:ext cx="38100" cy="25400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3" name="Oman" descr="© INSCALE GmbH, 05.05.2010&#10;http://www.presentationload.com/"/>
            <p:cNvSpPr/>
            <p:nvPr/>
          </p:nvSpPr>
          <p:spPr bwMode="gray">
            <a:xfrm>
              <a:off x="5686425" y="3265488"/>
              <a:ext cx="217487" cy="271463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4" name="Norwa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389438" y="1612901"/>
              <a:ext cx="547687" cy="601663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5" name="Nigeria" descr="© INSCALE GmbH, 05.05.2010&#10;http://www.presentationload.com/"/>
            <p:cNvSpPr/>
            <p:nvPr/>
          </p:nvSpPr>
          <p:spPr bwMode="gray">
            <a:xfrm>
              <a:off x="4294188" y="3627438"/>
              <a:ext cx="336550" cy="311150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6" name="Niger" descr="© INSCALE GmbH, 05.05.2010&#10;http://www.presentationload.com/"/>
            <p:cNvSpPr/>
            <p:nvPr/>
          </p:nvSpPr>
          <p:spPr bwMode="gray">
            <a:xfrm>
              <a:off x="4222750" y="3316288"/>
              <a:ext cx="446087" cy="379413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7" name="Nicaragua" descr="© INSCALE GmbH, 05.05.2010&#10;http://www.presentationload.com/"/>
            <p:cNvSpPr/>
            <p:nvPr/>
          </p:nvSpPr>
          <p:spPr bwMode="gray">
            <a:xfrm>
              <a:off x="1722438" y="3597276"/>
              <a:ext cx="131762" cy="133350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8" name="New Zea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8488363" y="5191126"/>
              <a:ext cx="511175" cy="395288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9" name="Newfoundland" descr="© INSCALE GmbH, 05.05.2010&#10;http://www.presentationload.com/"/>
            <p:cNvSpPr/>
            <p:nvPr/>
          </p:nvSpPr>
          <p:spPr bwMode="gray">
            <a:xfrm>
              <a:off x="2749550" y="2416176"/>
              <a:ext cx="171450" cy="15398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0" name="Netherlands" descr="© INSCALE GmbH, 05.05.2010&#10;http://www.presentationload.com/"/>
            <p:cNvSpPr/>
            <p:nvPr/>
          </p:nvSpPr>
          <p:spPr bwMode="gray">
            <a:xfrm>
              <a:off x="4325938" y="2355851"/>
              <a:ext cx="109537" cy="84138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1" name="Nepal" descr="© INSCALE GmbH, 05.05.2010&#10;http://www.presentationload.com/"/>
            <p:cNvSpPr/>
            <p:nvPr/>
          </p:nvSpPr>
          <p:spPr bwMode="gray">
            <a:xfrm>
              <a:off x="6435725" y="3089276"/>
              <a:ext cx="236537" cy="133350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2" name="Namibia" descr="© INSCALE GmbH, 05.05.2010&#10;http://www.presentationload.com/"/>
            <p:cNvSpPr/>
            <p:nvPr/>
          </p:nvSpPr>
          <p:spPr bwMode="gray">
            <a:xfrm>
              <a:off x="4546600" y="4627563"/>
              <a:ext cx="384175" cy="392113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3" name="Myanmar" descr="© INSCALE GmbH, 05.05.2010&#10;http://www.presentationload.com/"/>
            <p:cNvSpPr/>
            <p:nvPr/>
          </p:nvSpPr>
          <p:spPr bwMode="gray">
            <a:xfrm>
              <a:off x="6807200" y="3152776"/>
              <a:ext cx="255587" cy="603250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4" name="Mozambique" descr="© INSCALE GmbH, 05.05.2010&#10;http://www.presentationload.com/"/>
            <p:cNvSpPr/>
            <p:nvPr/>
          </p:nvSpPr>
          <p:spPr bwMode="gray">
            <a:xfrm>
              <a:off x="5070475" y="4418013"/>
              <a:ext cx="307975" cy="538163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5" name="Morocco" descr="© INSCALE GmbH, 05.05.2010&#10;http://www.presentationload.com/"/>
            <p:cNvSpPr/>
            <p:nvPr/>
          </p:nvSpPr>
          <p:spPr bwMode="gray">
            <a:xfrm>
              <a:off x="3857625" y="2914651"/>
              <a:ext cx="341312" cy="266700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5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6" name="Montenegro" descr="© INSCALE GmbH, 05.05.2010&#10;http://www.presentationload.com/"/>
            <p:cNvSpPr/>
            <p:nvPr/>
          </p:nvSpPr>
          <p:spPr bwMode="gray">
            <a:xfrm>
              <a:off x="4718050" y="2665413"/>
              <a:ext cx="46037" cy="53975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7" name="Mongolia" descr="© INSCALE GmbH, 05.05.2010&#10;http://www.presentationload.com/"/>
            <p:cNvSpPr/>
            <p:nvPr/>
          </p:nvSpPr>
          <p:spPr bwMode="gray">
            <a:xfrm>
              <a:off x="6450013" y="2393951"/>
              <a:ext cx="844550" cy="334963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8" name="Moldova" descr="© INSCALE GmbH, 05.05.2010&#10;http://www.presentationload.com/"/>
            <p:cNvSpPr/>
            <p:nvPr/>
          </p:nvSpPr>
          <p:spPr bwMode="gray">
            <a:xfrm>
              <a:off x="4921250" y="2511426"/>
              <a:ext cx="87312" cy="95250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9" name="Mexico" descr="© INSCALE GmbH, 05.05.2010&#10;http://www.presentationload.com/"/>
            <p:cNvSpPr/>
            <p:nvPr/>
          </p:nvSpPr>
          <p:spPr bwMode="gray">
            <a:xfrm>
              <a:off x="1031875" y="3019426"/>
              <a:ext cx="749300" cy="587375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0" name="Malta" descr="© INSCALE GmbH, 05.05.2010&#10;http://www.presentationload.com/"/>
            <p:cNvSpPr/>
            <p:nvPr/>
          </p:nvSpPr>
          <p:spPr bwMode="gray">
            <a:xfrm>
              <a:off x="4611688" y="2903538"/>
              <a:ext cx="12700" cy="11113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1" name="Mauritania" descr="© INSCALE GmbH, 05.05.2010&#10;http://www.presentationload.com/"/>
            <p:cNvSpPr/>
            <p:nvPr/>
          </p:nvSpPr>
          <p:spPr bwMode="gray">
            <a:xfrm>
              <a:off x="3741738" y="3195638"/>
              <a:ext cx="346075" cy="404813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2" name="Mali" descr="© INSCALE GmbH, 05.05.2010&#10;http://www.presentationload.com/"/>
            <p:cNvSpPr/>
            <p:nvPr/>
          </p:nvSpPr>
          <p:spPr bwMode="gray">
            <a:xfrm>
              <a:off x="3868738" y="3265488"/>
              <a:ext cx="466725" cy="484188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3" name="Malaysia" descr="© INSCALE GmbH, 05.05.2010&#10;http://www.presentationload.com/"/>
            <p:cNvSpPr/>
            <p:nvPr/>
          </p:nvSpPr>
          <p:spPr bwMode="gray">
            <a:xfrm>
              <a:off x="7073900" y="3859213"/>
              <a:ext cx="123825" cy="17621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4" name="Malaysia" descr="© INSCALE GmbH, 05.05.2010&#10;http://www.presentationload.com/"/>
            <p:cNvSpPr/>
            <p:nvPr/>
          </p:nvSpPr>
          <p:spPr bwMode="gray">
            <a:xfrm>
              <a:off x="7362825" y="3838576"/>
              <a:ext cx="276225" cy="212725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5" name="Malawi" descr="© INSCALE GmbH, 05.05.2010&#10;http://www.presentationload.com/"/>
            <p:cNvSpPr/>
            <p:nvPr/>
          </p:nvSpPr>
          <p:spPr bwMode="gray">
            <a:xfrm>
              <a:off x="5145088" y="4383088"/>
              <a:ext cx="93662" cy="252413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6" name="Madagascar" descr="© INSCALE GmbH, 05.05.2010&#10;http://www.presentationload.com/"/>
            <p:cNvSpPr/>
            <p:nvPr/>
          </p:nvSpPr>
          <p:spPr bwMode="gray">
            <a:xfrm>
              <a:off x="5419725" y="4476751"/>
              <a:ext cx="239712" cy="438150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7" name="Macedonia" descr="© INSCALE GmbH, 05.05.2010&#10;http://www.presentationload.com/"/>
            <p:cNvSpPr/>
            <p:nvPr/>
          </p:nvSpPr>
          <p:spPr bwMode="gray">
            <a:xfrm>
              <a:off x="4775200" y="2703513"/>
              <a:ext cx="66675" cy="5080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5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8" name="Luxembourg" descr="© INSCALE GmbH, 05.05.2010&#10;http://www.presentationload.com/"/>
            <p:cNvSpPr/>
            <p:nvPr/>
          </p:nvSpPr>
          <p:spPr bwMode="gray">
            <a:xfrm>
              <a:off x="4392613" y="2459038"/>
              <a:ext cx="20637" cy="17463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9" name="Lithuania" descr="© INSCALE GmbH, 05.05.2010&#10;http://www.presentationload.com/"/>
            <p:cNvSpPr/>
            <p:nvPr/>
          </p:nvSpPr>
          <p:spPr bwMode="gray">
            <a:xfrm>
              <a:off x="4764088" y="2262188"/>
              <a:ext cx="136525" cy="79375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0" name="Liechtenstein" descr="© INSCALE GmbH, 05.05.2010&#10;http://www.presentationload.com/"/>
            <p:cNvSpPr/>
            <p:nvPr/>
          </p:nvSpPr>
          <p:spPr bwMode="gray">
            <a:xfrm>
              <a:off x="4483100" y="2546351"/>
              <a:ext cx="6350" cy="952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1" name="Libya" descr="© INSCALE GmbH, 05.05.2010&#10;http://www.presentationload.com/"/>
            <p:cNvSpPr/>
            <p:nvPr/>
          </p:nvSpPr>
          <p:spPr bwMode="gray">
            <a:xfrm>
              <a:off x="4479925" y="3000376"/>
              <a:ext cx="442912" cy="446088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2" name="Liberia" descr="© INSCALE GmbH, 05.05.2010&#10;http://www.presentationload.com/"/>
            <p:cNvSpPr/>
            <p:nvPr/>
          </p:nvSpPr>
          <p:spPr bwMode="gray">
            <a:xfrm>
              <a:off x="3878263" y="3798888"/>
              <a:ext cx="123825" cy="139700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3" name="Lesotho" descr="© INSCALE GmbH, 05.05.2010&#10;http://www.presentationload.com/"/>
            <p:cNvSpPr/>
            <p:nvPr/>
          </p:nvSpPr>
          <p:spPr bwMode="gray">
            <a:xfrm>
              <a:off x="4968875" y="5006976"/>
              <a:ext cx="66675" cy="6508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4" name="Lebanon" descr="© INSCALE GmbH, 05.05.2010&#10;http://www.presentationload.com/"/>
            <p:cNvSpPr/>
            <p:nvPr/>
          </p:nvSpPr>
          <p:spPr bwMode="gray">
            <a:xfrm>
              <a:off x="5176838" y="2954338"/>
              <a:ext cx="42862" cy="63500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5" name="Latvia" descr="© INSCALE GmbH, 05.05.2010&#10;http://www.presentationload.com/"/>
            <p:cNvSpPr/>
            <p:nvPr/>
          </p:nvSpPr>
          <p:spPr bwMode="gray">
            <a:xfrm>
              <a:off x="4760913" y="2212976"/>
              <a:ext cx="171450" cy="7302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6" name="Laos" descr="© INSCALE GmbH, 05.05.2010&#10;http://www.presentationload.com/"/>
            <p:cNvSpPr/>
            <p:nvPr/>
          </p:nvSpPr>
          <p:spPr bwMode="gray">
            <a:xfrm>
              <a:off x="7034213" y="3348038"/>
              <a:ext cx="241300" cy="279400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7" name="Kyrgyzstan" descr="© INSCALE GmbH, 05.05.2010&#10;http://www.presentationload.com/"/>
            <p:cNvSpPr/>
            <p:nvPr/>
          </p:nvSpPr>
          <p:spPr bwMode="gray">
            <a:xfrm>
              <a:off x="6067425" y="2679701"/>
              <a:ext cx="269875" cy="125413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8" name="Kuwait" descr="© INSCALE GmbH, 05.05.2010&#10;http://www.presentationload.com/"/>
            <p:cNvSpPr/>
            <p:nvPr/>
          </p:nvSpPr>
          <p:spPr bwMode="gray">
            <a:xfrm>
              <a:off x="5510213" y="3103563"/>
              <a:ext cx="55562" cy="49213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9" name="Korea, South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612063" y="2828926"/>
              <a:ext cx="109537" cy="171450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0" name="Korea, North" descr="© INSCALE GmbH, 05.05.2010&#10;http://www.presentationload.com/"/>
            <p:cNvSpPr/>
            <p:nvPr/>
          </p:nvSpPr>
          <p:spPr bwMode="gray">
            <a:xfrm>
              <a:off x="7519988" y="2687638"/>
              <a:ext cx="131762" cy="168275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1" name="Kenya" descr="© INSCALE GmbH, 05.05.2010&#10;http://www.presentationload.com/"/>
            <p:cNvSpPr/>
            <p:nvPr/>
          </p:nvSpPr>
          <p:spPr bwMode="gray">
            <a:xfrm>
              <a:off x="5189538" y="3925888"/>
              <a:ext cx="225425" cy="306388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2" name="Kazakhst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419725" y="2295526"/>
              <a:ext cx="1012825" cy="468313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3" name="Jordan" descr="© INSCALE GmbH, 05.05.2010&#10;http://www.presentationload.com/"/>
            <p:cNvSpPr/>
            <p:nvPr/>
          </p:nvSpPr>
          <p:spPr bwMode="gray">
            <a:xfrm>
              <a:off x="5189538" y="2998788"/>
              <a:ext cx="112712" cy="134938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4" name="Jamaica" descr="© INSCALE GmbH, 05.05.2010&#10;http://www.presentationload.com/"/>
            <p:cNvSpPr/>
            <p:nvPr/>
          </p:nvSpPr>
          <p:spPr bwMode="gray">
            <a:xfrm>
              <a:off x="2000250" y="3481388"/>
              <a:ext cx="63500" cy="20638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5" name="Jap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673975" y="2605088"/>
              <a:ext cx="352425" cy="687388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6" name="Italy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411663" y="2552701"/>
              <a:ext cx="312737" cy="334963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6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7" name="Israel" descr="© INSCALE GmbH, 05.05.2010&#10;http://www.presentationload.com/"/>
            <p:cNvSpPr/>
            <p:nvPr/>
          </p:nvSpPr>
          <p:spPr bwMode="gray">
            <a:xfrm>
              <a:off x="5165725" y="2994026"/>
              <a:ext cx="41275" cy="12858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8" name="Ireland" descr="© INSCALE GmbH, 05.05.2010&#10;http://www.presentationload.com/"/>
            <p:cNvSpPr/>
            <p:nvPr/>
          </p:nvSpPr>
          <p:spPr bwMode="gray">
            <a:xfrm>
              <a:off x="4000500" y="2298701"/>
              <a:ext cx="112712" cy="119063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9" name="Iraq" descr="© INSCALE GmbH, 05.05.2010&#10;http://www.presentationload.com/"/>
            <p:cNvSpPr/>
            <p:nvPr/>
          </p:nvSpPr>
          <p:spPr bwMode="gray">
            <a:xfrm>
              <a:off x="5283200" y="2868613"/>
              <a:ext cx="276225" cy="265113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0" name="Iran" descr="© INSCALE GmbH, 05.05.2010&#10;http://www.presentationload.com/"/>
            <p:cNvSpPr/>
            <p:nvPr/>
          </p:nvSpPr>
          <p:spPr bwMode="gray">
            <a:xfrm>
              <a:off x="5400675" y="2787651"/>
              <a:ext cx="579437" cy="474663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1" name="Indones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938963" y="3894138"/>
              <a:ext cx="1314450" cy="523875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2" name="Ind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134100" y="2909888"/>
              <a:ext cx="785812" cy="949325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3" name="Iceland" descr="© INSCALE GmbH, 05.05.2010&#10;http://www.presentationload.com/"/>
            <p:cNvSpPr/>
            <p:nvPr/>
          </p:nvSpPr>
          <p:spPr bwMode="gray">
            <a:xfrm>
              <a:off x="3757613" y="1966913"/>
              <a:ext cx="230187" cy="88900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1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4" name="Hungary" descr="© INSCALE GmbH, 05.05.2010&#10;http://www.presentationload.com/"/>
            <p:cNvSpPr/>
            <p:nvPr/>
          </p:nvSpPr>
          <p:spPr bwMode="gray">
            <a:xfrm>
              <a:off x="4657725" y="2508251"/>
              <a:ext cx="171450" cy="88900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1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5" name="Honduras" descr="© INSCALE GmbH, 05.05.2010&#10;http://www.presentationload.com/"/>
            <p:cNvSpPr/>
            <p:nvPr/>
          </p:nvSpPr>
          <p:spPr bwMode="gray">
            <a:xfrm>
              <a:off x="1679575" y="3559176"/>
              <a:ext cx="179387" cy="98425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2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6" name="Haiti" descr="© INSCALE GmbH, 05.05.2010&#10;http://www.presentationload.com/"/>
            <p:cNvSpPr/>
            <p:nvPr/>
          </p:nvSpPr>
          <p:spPr bwMode="gray">
            <a:xfrm>
              <a:off x="2119313" y="3433763"/>
              <a:ext cx="79375" cy="61913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7" name="Guyane (French Guiana)" descr="© INSCALE GmbH, 05.05.2010&#10;http://www.presentationload.com/"/>
            <p:cNvSpPr/>
            <p:nvPr/>
          </p:nvSpPr>
          <p:spPr bwMode="gray">
            <a:xfrm>
              <a:off x="2647950" y="3890963"/>
              <a:ext cx="82550" cy="11906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8" name="Guyana" descr="© INSCALE GmbH, 05.05.2010&#10;http://www.presentationload.com/"/>
            <p:cNvSpPr/>
            <p:nvPr/>
          </p:nvSpPr>
          <p:spPr bwMode="gray">
            <a:xfrm>
              <a:off x="2455863" y="3803651"/>
              <a:ext cx="131762" cy="23495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9" name="Guinea-Bissau" descr="© INSCALE GmbH, 05.05.2010&#10;http://www.presentationload.com/"/>
            <p:cNvSpPr/>
            <p:nvPr/>
          </p:nvSpPr>
          <p:spPr bwMode="gray">
            <a:xfrm>
              <a:off x="3751263" y="3663951"/>
              <a:ext cx="74612" cy="63500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0" name="Guinea" descr="© INSCALE GmbH, 05.05.2010&#10;http://www.presentationload.com/"/>
            <p:cNvSpPr/>
            <p:nvPr/>
          </p:nvSpPr>
          <p:spPr bwMode="gray">
            <a:xfrm>
              <a:off x="3787775" y="3667126"/>
              <a:ext cx="209550" cy="177800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2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1" name="Guatemala" descr="© INSCALE GmbH, 05.05.2010&#10;http://www.presentationload.com/"/>
            <p:cNvSpPr/>
            <p:nvPr/>
          </p:nvSpPr>
          <p:spPr bwMode="gray">
            <a:xfrm>
              <a:off x="1595438" y="3497263"/>
              <a:ext cx="119062" cy="134938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2" name="Greenland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984500" y="1547813"/>
              <a:ext cx="1127125" cy="614363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3" name="Gree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73613" y="2724151"/>
              <a:ext cx="214312" cy="222250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4" name="Ghana" descr="© INSCALE GmbH, 05.05.2010&#10;http://www.presentationload.com/"/>
            <p:cNvSpPr/>
            <p:nvPr/>
          </p:nvSpPr>
          <p:spPr bwMode="gray">
            <a:xfrm>
              <a:off x="4117975" y="3717926"/>
              <a:ext cx="131762" cy="207963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5" name="Germany" descr="© INSCALE GmbH, 05.05.2010&#10;http://www.presentationload.com/"/>
            <p:cNvSpPr/>
            <p:nvPr/>
          </p:nvSpPr>
          <p:spPr bwMode="gray">
            <a:xfrm>
              <a:off x="4398963" y="2309813"/>
              <a:ext cx="227012" cy="236538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6" name="Georgia" descr="© INSCALE GmbH, 05.05.2010&#10;http://www.presentationload.com/"/>
            <p:cNvSpPr/>
            <p:nvPr/>
          </p:nvSpPr>
          <p:spPr bwMode="gray">
            <a:xfrm>
              <a:off x="5278438" y="2665413"/>
              <a:ext cx="185737" cy="84138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7" name="The Gambia" descr="© INSCALE GmbH, 05.05.2010&#10;http://www.presentationload.com/"/>
            <p:cNvSpPr/>
            <p:nvPr/>
          </p:nvSpPr>
          <p:spPr bwMode="gray">
            <a:xfrm>
              <a:off x="3738563" y="3630613"/>
              <a:ext cx="85725" cy="20638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8" name="Gabon" descr="© INSCALE GmbH, 05.05.2010&#10;http://www.presentationload.com/"/>
            <p:cNvSpPr/>
            <p:nvPr/>
          </p:nvSpPr>
          <p:spPr bwMode="gray">
            <a:xfrm>
              <a:off x="4462463" y="3998913"/>
              <a:ext cx="168275" cy="206375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" name="Franc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122738" y="2424113"/>
              <a:ext cx="366712" cy="315913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0" name="Finland" descr="© INSCALE GmbH, 05.05.2010&#10;http://www.presentationload.com/"/>
            <p:cNvSpPr/>
            <p:nvPr/>
          </p:nvSpPr>
          <p:spPr bwMode="gray">
            <a:xfrm>
              <a:off x="4714873" y="1874712"/>
              <a:ext cx="254000" cy="288925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1" name="Ethiopia" descr="© INSCALE GmbH, 05.05.2010&#10;http://www.presentationload.com/"/>
            <p:cNvSpPr/>
            <p:nvPr/>
          </p:nvSpPr>
          <p:spPr bwMode="gray">
            <a:xfrm>
              <a:off x="5159375" y="3595688"/>
              <a:ext cx="425450" cy="371475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2" name="Eston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775200" y="2168526"/>
              <a:ext cx="139700" cy="61913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3" name="Eritrea" descr="© INSCALE GmbH, 05.05.2010&#10;http://www.presentationload.com/"/>
            <p:cNvSpPr/>
            <p:nvPr/>
          </p:nvSpPr>
          <p:spPr bwMode="gray">
            <a:xfrm>
              <a:off x="5248275" y="3492501"/>
              <a:ext cx="193675" cy="184150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4" name="Equatorial Guinea" descr="© INSCALE GmbH, 05.05.2010&#10;http://www.presentationload.com/"/>
            <p:cNvSpPr/>
            <p:nvPr/>
          </p:nvSpPr>
          <p:spPr bwMode="gray">
            <a:xfrm>
              <a:off x="4479925" y="4002088"/>
              <a:ext cx="58737" cy="44450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5" name="El Salvador" descr="© INSCALE GmbH, 05.05.2010&#10;http://www.presentationload.com/"/>
            <p:cNvSpPr/>
            <p:nvPr/>
          </p:nvSpPr>
          <p:spPr bwMode="gray">
            <a:xfrm>
              <a:off x="1651000" y="3609976"/>
              <a:ext cx="68262" cy="4445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6" name="Egypt" descr="© INSCALE GmbH, 05.05.2010&#10;http://www.presentationload.com/"/>
            <p:cNvSpPr/>
            <p:nvPr/>
          </p:nvSpPr>
          <p:spPr bwMode="gray">
            <a:xfrm>
              <a:off x="4903788" y="3051176"/>
              <a:ext cx="317500" cy="323850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7" name="Ecuador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890713" y="4025901"/>
              <a:ext cx="166687" cy="212725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2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8" name="East Timor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756525" y="4344988"/>
              <a:ext cx="100012" cy="47625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1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9" name="Dominican Republic" descr="© INSCALE GmbH, 05.05.2010&#10;http://www.presentationload.com/"/>
            <p:cNvSpPr/>
            <p:nvPr/>
          </p:nvSpPr>
          <p:spPr bwMode="gray">
            <a:xfrm>
              <a:off x="2187575" y="3433763"/>
              <a:ext cx="100012" cy="66675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1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0" name="Djibouti" descr="© INSCALE GmbH, 05.05.2010&#10;http://www.presentationload.com/"/>
            <p:cNvSpPr/>
            <p:nvPr/>
          </p:nvSpPr>
          <p:spPr bwMode="gray">
            <a:xfrm>
              <a:off x="5402263" y="3667126"/>
              <a:ext cx="47625" cy="5556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1" name="Denmark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454525" y="2227263"/>
              <a:ext cx="111125" cy="95250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2" name="Czech Republic" descr="© INSCALE GmbH, 05.05.2010&#10;http://www.presentationload.com/"/>
            <p:cNvSpPr/>
            <p:nvPr/>
          </p:nvSpPr>
          <p:spPr bwMode="gray">
            <a:xfrm>
              <a:off x="4552950" y="2430463"/>
              <a:ext cx="169862" cy="77788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3" name="Cyprus" descr="© INSCALE GmbH, 05.05.2010&#10;http://www.presentationload.com/"/>
            <p:cNvSpPr/>
            <p:nvPr/>
          </p:nvSpPr>
          <p:spPr bwMode="gray">
            <a:xfrm>
              <a:off x="5099050" y="2922588"/>
              <a:ext cx="60325" cy="34925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4" name="Cub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836738" y="3324226"/>
              <a:ext cx="296862" cy="10953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5" name="Croatia" descr="© INSCALE GmbH, 05.05.2010&#10;http://www.presentationload.com/"/>
            <p:cNvSpPr/>
            <p:nvPr/>
          </p:nvSpPr>
          <p:spPr bwMode="gray">
            <a:xfrm>
              <a:off x="4594225" y="2573338"/>
              <a:ext cx="147637" cy="111125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6" name="Côte d'Ivoire" descr="© INSCALE GmbH, 05.05.2010&#10;http://www.presentationload.com/"/>
            <p:cNvSpPr/>
            <p:nvPr/>
          </p:nvSpPr>
          <p:spPr bwMode="gray">
            <a:xfrm>
              <a:off x="3965575" y="3730626"/>
              <a:ext cx="176212" cy="207963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7" name="Costa Rica" descr="© INSCALE GmbH, 05.05.2010&#10;http://www.presentationload.com/"/>
            <p:cNvSpPr/>
            <p:nvPr/>
          </p:nvSpPr>
          <p:spPr bwMode="gray">
            <a:xfrm>
              <a:off x="1762125" y="3714751"/>
              <a:ext cx="96837" cy="92075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8" name="Congo" descr="© INSCALE GmbH, 05.05.2010&#10;http://www.presentationload.com/"/>
            <p:cNvSpPr/>
            <p:nvPr/>
          </p:nvSpPr>
          <p:spPr bwMode="gray">
            <a:xfrm>
              <a:off x="4565650" y="3903663"/>
              <a:ext cx="542925" cy="611188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9" name="Congo (Brazzaville)" descr="© INSCALE GmbH, 05.05.2010&#10;http://www.presentationload.com/"/>
            <p:cNvSpPr/>
            <p:nvPr/>
          </p:nvSpPr>
          <p:spPr bwMode="gray">
            <a:xfrm>
              <a:off x="4530725" y="3957638"/>
              <a:ext cx="215900" cy="280988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0" name="Colombia" descr="© INSCALE GmbH, 05.05.2010&#10;http://www.presentationload.com/"/>
            <p:cNvSpPr/>
            <p:nvPr/>
          </p:nvSpPr>
          <p:spPr bwMode="gray">
            <a:xfrm>
              <a:off x="1947863" y="3673476"/>
              <a:ext cx="349250" cy="541338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1" name="Chile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230438" y="4649788"/>
              <a:ext cx="465137" cy="12192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2" name="Chin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6188075" y="2349501"/>
              <a:ext cx="1473200" cy="1136650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3" name="Chad" descr="© INSCALE GmbH, 05.05.2010&#10;http://www.presentationload.com/"/>
            <p:cNvSpPr/>
            <p:nvPr/>
          </p:nvSpPr>
          <p:spPr bwMode="gray">
            <a:xfrm>
              <a:off x="4597400" y="3316288"/>
              <a:ext cx="298450" cy="519113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4" name="Central African Republic" descr="© INSCALE GmbH, 05.05.2010&#10;http://www.presentationload.com/"/>
            <p:cNvSpPr/>
            <p:nvPr/>
          </p:nvSpPr>
          <p:spPr bwMode="gray">
            <a:xfrm>
              <a:off x="4625975" y="3722688"/>
              <a:ext cx="368300" cy="280988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5" name="Canad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1035050" y="1557338"/>
              <a:ext cx="2243137" cy="1160463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6" name="Cameroon" descr="© INSCALE GmbH, 05.05.2010&#10;http://www.presentationload.com/"/>
            <p:cNvSpPr/>
            <p:nvPr/>
          </p:nvSpPr>
          <p:spPr bwMode="gray">
            <a:xfrm>
              <a:off x="4459288" y="3651251"/>
              <a:ext cx="219075" cy="373063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7" name="Cambodia" descr="© INSCALE GmbH, 05.05.2010&#10;http://www.presentationload.com/"/>
            <p:cNvSpPr/>
            <p:nvPr/>
          </p:nvSpPr>
          <p:spPr bwMode="gray">
            <a:xfrm>
              <a:off x="7127875" y="3606801"/>
              <a:ext cx="152400" cy="134938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8" name="Burundi" descr="© INSCALE GmbH, 05.05.2010&#10;http://www.presentationload.com/"/>
            <p:cNvSpPr/>
            <p:nvPr/>
          </p:nvSpPr>
          <p:spPr bwMode="gray">
            <a:xfrm>
              <a:off x="5043488" y="4157663"/>
              <a:ext cx="53975" cy="66675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9" name="Burkina Faso" descr="© INSCALE GmbH, 05.05.2010&#10;http://www.presentationload.com/"/>
            <p:cNvSpPr/>
            <p:nvPr/>
          </p:nvSpPr>
          <p:spPr bwMode="gray">
            <a:xfrm>
              <a:off x="4056063" y="3590926"/>
              <a:ext cx="230187" cy="180975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0" name="Bulgaria" descr="© INSCALE GmbH, 05.05.2010&#10;http://www.presentationload.com/"/>
            <p:cNvSpPr/>
            <p:nvPr/>
          </p:nvSpPr>
          <p:spPr bwMode="gray">
            <a:xfrm>
              <a:off x="4822825" y="2647951"/>
              <a:ext cx="158750" cy="90488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1" name="Brazil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098675" y="3906838"/>
              <a:ext cx="1120775" cy="1266825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2" name="Botswana" descr="© INSCALE GmbH, 05.05.2010&#10;http://www.presentationload.com/"/>
            <p:cNvSpPr/>
            <p:nvPr/>
          </p:nvSpPr>
          <p:spPr bwMode="gray">
            <a:xfrm>
              <a:off x="4778375" y="4654551"/>
              <a:ext cx="260350" cy="293688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3" name="Bosnia and Herzegovina" descr="© INSCALE GmbH, 05.05.2010&#10;http://www.presentationload.com/"/>
            <p:cNvSpPr/>
            <p:nvPr/>
          </p:nvSpPr>
          <p:spPr bwMode="gray">
            <a:xfrm>
              <a:off x="4643438" y="2611438"/>
              <a:ext cx="106362" cy="95250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4" name="Bolivia" descr="© INSCALE GmbH, 05.05.2010&#10;http://www.presentationload.com/"/>
            <p:cNvSpPr/>
            <p:nvPr/>
          </p:nvSpPr>
          <p:spPr bwMode="gray">
            <a:xfrm>
              <a:off x="2233613" y="4392613"/>
              <a:ext cx="358775" cy="427038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5" name="Bhutan" descr="© INSCALE GmbH, 05.05.2010&#10;http://www.presentationload.com/"/>
            <p:cNvSpPr/>
            <p:nvPr/>
          </p:nvSpPr>
          <p:spPr bwMode="gray">
            <a:xfrm>
              <a:off x="6686550" y="3159126"/>
              <a:ext cx="93662" cy="5397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6" name="Benin" descr="© INSCALE GmbH, 05.05.2010&#10;http://www.presentationload.com/"/>
            <p:cNvSpPr/>
            <p:nvPr/>
          </p:nvSpPr>
          <p:spPr bwMode="gray">
            <a:xfrm>
              <a:off x="4237038" y="3676651"/>
              <a:ext cx="88900" cy="200025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1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7" name="Belize" descr="© INSCALE GmbH, 05.05.2010&#10;http://www.presentationload.com/"/>
            <p:cNvSpPr/>
            <p:nvPr/>
          </p:nvSpPr>
          <p:spPr bwMode="gray">
            <a:xfrm>
              <a:off x="1687513" y="3478213"/>
              <a:ext cx="42862" cy="85725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8" name="Belgium" descr="© INSCALE GmbH, 05.05.2010&#10;http://www.presentationload.com/"/>
            <p:cNvSpPr/>
            <p:nvPr/>
          </p:nvSpPr>
          <p:spPr bwMode="gray">
            <a:xfrm>
              <a:off x="4321175" y="2417763"/>
              <a:ext cx="90487" cy="61913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1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9" name="Bangladesh" descr="© INSCALE GmbH, 05.05.2010&#10;http://www.presentationload.com/"/>
            <p:cNvSpPr/>
            <p:nvPr/>
          </p:nvSpPr>
          <p:spPr bwMode="gray">
            <a:xfrm>
              <a:off x="6673850" y="3217863"/>
              <a:ext cx="150812" cy="171450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0" name="Belarus" descr="© INSCALE GmbH, 05.05.2010&#10;http://www.presentationload.com/"/>
            <p:cNvSpPr/>
            <p:nvPr/>
          </p:nvSpPr>
          <p:spPr bwMode="gray">
            <a:xfrm>
              <a:off x="4824413" y="2271713"/>
              <a:ext cx="228600" cy="149225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1" name="Bahrain" descr="© INSCALE GmbH, 05.05.2010&#10;http://www.presentationload.com/"/>
            <p:cNvSpPr/>
            <p:nvPr/>
          </p:nvSpPr>
          <p:spPr bwMode="gray">
            <a:xfrm>
              <a:off x="5629275" y="3219451"/>
              <a:ext cx="11112" cy="22225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2" name="Azerbaijan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5419725" y="2719388"/>
              <a:ext cx="146050" cy="117475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3" name="Austria" descr="© INSCALE GmbH, 05.05.2010&#10;http://www.presentationload.com/"/>
            <p:cNvSpPr/>
            <p:nvPr/>
          </p:nvSpPr>
          <p:spPr bwMode="gray">
            <a:xfrm>
              <a:off x="4489450" y="2493963"/>
              <a:ext cx="184150" cy="8096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4" name="Australi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7331075" y="4422776"/>
              <a:ext cx="1143000" cy="1071563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5" name="Armenia" descr="© INSCALE GmbH, 05.05.2010&#10;http://www.presentationload.com/"/>
            <p:cNvSpPr/>
            <p:nvPr/>
          </p:nvSpPr>
          <p:spPr bwMode="gray">
            <a:xfrm>
              <a:off x="5380038" y="2736851"/>
              <a:ext cx="88900" cy="85725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1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6" name="Argentin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2290763" y="4787901"/>
              <a:ext cx="439737" cy="982663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7" name="Angol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546600" y="4216401"/>
              <a:ext cx="357187" cy="446088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6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8" name="Andorra" descr="© INSCALE GmbH, 05.05.2010&#10;http://www.presentationload.com/"/>
            <p:cNvSpPr/>
            <p:nvPr/>
          </p:nvSpPr>
          <p:spPr bwMode="gray">
            <a:xfrm>
              <a:off x="4276725" y="2697163"/>
              <a:ext cx="12700" cy="6350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9" name="Algeria" descr="© INSCALE GmbH, 05.05.2010&#10;http://www.presentationload.com/"/>
            <p:cNvSpPr/>
            <p:nvPr/>
          </p:nvSpPr>
          <p:spPr bwMode="gray">
            <a:xfrm>
              <a:off x="3960813" y="2873376"/>
              <a:ext cx="595312" cy="587375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0" name="Albania" descr="© INSCALE GmbH, 05.05.2010&#10;http://www.presentationload.com/"/>
            <p:cNvSpPr/>
            <p:nvPr/>
          </p:nvSpPr>
          <p:spPr bwMode="gray">
            <a:xfrm>
              <a:off x="4733925" y="2697163"/>
              <a:ext cx="58737" cy="98425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1" name="South Africa" descr="© INSCALE GmbH, 05.05.2010&#10;http://www.presentationload.com/"/>
            <p:cNvSpPr>
              <a:spLocks noEditPoints="1"/>
            </p:cNvSpPr>
            <p:nvPr/>
          </p:nvSpPr>
          <p:spPr bwMode="gray">
            <a:xfrm>
              <a:off x="4678363" y="4797426"/>
              <a:ext cx="457200" cy="411163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551155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2" name="Afghanistan" descr="© INSCALE GmbH, 05.05.2010&#10;http://www.presentationload.com/"/>
            <p:cNvSpPr/>
            <p:nvPr/>
          </p:nvSpPr>
          <p:spPr bwMode="gray">
            <a:xfrm>
              <a:off x="5867400" y="2828926"/>
              <a:ext cx="365125" cy="296863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5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363" name="Group 340"/>
            <p:cNvGrpSpPr/>
            <p:nvPr/>
          </p:nvGrpSpPr>
          <p:grpSpPr>
            <a:xfrm>
              <a:off x="4724400" y="2584451"/>
              <a:ext cx="111125" cy="136525"/>
              <a:chOff x="2184" y="1242"/>
              <a:chExt cx="257" cy="316"/>
            </a:xfrm>
            <a:grpFill/>
          </p:grpSpPr>
          <p:sp>
            <p:nvSpPr>
              <p:cNvPr id="366" name="Freeform 341" descr="© INSCALE GmbH, 05.05.2010&#10;http://www.presentationload.com/"/>
              <p:cNvSpPr/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67" name="Freeform 342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1" h="236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364" name="Freeform 8"/>
            <p:cNvSpPr/>
            <p:nvPr/>
          </p:nvSpPr>
          <p:spPr bwMode="auto">
            <a:xfrm>
              <a:off x="4832266" y="3322737"/>
              <a:ext cx="485065" cy="47587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5" name="Freeform 9"/>
            <p:cNvSpPr/>
            <p:nvPr/>
          </p:nvSpPr>
          <p:spPr bwMode="auto">
            <a:xfrm>
              <a:off x="4899664" y="3677090"/>
              <a:ext cx="349247" cy="292061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368" name="TextBox 367"/>
          <p:cNvSpPr txBox="1"/>
          <p:nvPr/>
        </p:nvSpPr>
        <p:spPr>
          <a:xfrm>
            <a:off x="1705375" y="4348299"/>
            <a:ext cx="17665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mericas: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rgentina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Brazil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Canada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Mexico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U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369" name="TextBox 368"/>
          <p:cNvSpPr txBox="1"/>
          <p:nvPr/>
        </p:nvSpPr>
        <p:spPr>
          <a:xfrm>
            <a:off x="4676466" y="2734055"/>
            <a:ext cx="118843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Europe: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ustria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Denmark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Finland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France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Germany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reland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taly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Netherlands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Norway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Poland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pain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wede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witzerland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Turkey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UK</a:t>
            </a:r>
            <a:endParaRPr kumimoji="0" lang="en-GB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370" name="TextBox 369"/>
          <p:cNvSpPr txBox="1"/>
          <p:nvPr/>
        </p:nvSpPr>
        <p:spPr>
          <a:xfrm>
            <a:off x="7246449" y="2980778"/>
            <a:ext cx="1320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Middle East: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audi Arabia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UAE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</p:txBody>
      </p:sp>
      <p:sp>
        <p:nvSpPr>
          <p:cNvPr id="371" name="TextBox 370"/>
          <p:cNvSpPr txBox="1"/>
          <p:nvPr/>
        </p:nvSpPr>
        <p:spPr>
          <a:xfrm>
            <a:off x="6252955" y="5763413"/>
            <a:ext cx="1320772" cy="10361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outh Africa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/>
              <a:ea typeface="+mn-ea"/>
              <a:cs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GB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72" name="TextBox 371"/>
          <p:cNvSpPr txBox="1"/>
          <p:nvPr/>
        </p:nvSpPr>
        <p:spPr>
          <a:xfrm>
            <a:off x="8244400" y="4674489"/>
            <a:ext cx="20056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sia Pacific: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ustralia/New Zealand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China (Greater)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ndia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Indonesia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Japan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Malaysia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Philippines</a:t>
            </a:r>
          </a:p>
          <a:p>
            <a:pPr marL="0" marR="0" lvl="0" indent="0" algn="l" defTabSz="1219170" rtl="0" eaLnBrk="1" fontAlgn="t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Singapore</a:t>
            </a:r>
          </a:p>
        </p:txBody>
      </p:sp>
      <p:sp>
        <p:nvSpPr>
          <p:cNvPr id="373" name="TextBox 372"/>
          <p:cNvSpPr txBox="1"/>
          <p:nvPr/>
        </p:nvSpPr>
        <p:spPr>
          <a:xfrm>
            <a:off x="271724" y="5936580"/>
            <a:ext cx="28673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New for 2018: 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raphik"/>
                <a:ea typeface="+mn-ea"/>
                <a:cs typeface="Arial"/>
              </a:rPr>
              <a:t>Added New Zealand, Poland and Turkey</a:t>
            </a:r>
          </a:p>
        </p:txBody>
      </p:sp>
      <p:sp>
        <p:nvSpPr>
          <p:cNvPr id="374" name="Title 4"/>
          <p:cNvSpPr txBox="1"/>
          <p:nvPr/>
        </p:nvSpPr>
        <p:spPr>
          <a:xfrm>
            <a:off x="381000" y="380999"/>
            <a:ext cx="9689432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0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effectLst/>
                <a:uLnTx/>
                <a:uFillTx/>
                <a:latin typeface="Graphik"/>
                <a:ea typeface="+mj-ea"/>
                <a:cs typeface="+mj-cs"/>
              </a:rPr>
              <a:t>2018 Survey: more than </a:t>
            </a:r>
            <a:r>
              <a:rPr kumimoji="0" lang="en-US" sz="32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j-ea"/>
                <a:cs typeface="+mj-cs"/>
              </a:rPr>
              <a:t>22,ooo online interviews in 34 countries </a:t>
            </a:r>
            <a:endParaRPr kumimoji="0" lang="en-US" sz="3200" b="1" i="0" u="none" strike="noStrike" kern="1200" cap="all" spc="0" normalizeH="0" baseline="0" noProof="0" dirty="0">
              <a:ln>
                <a:noFill/>
              </a:ln>
              <a:solidFill>
                <a:srgbClr val="7E00FF"/>
              </a:solidFill>
              <a:effectLst/>
              <a:uLnTx/>
              <a:uFillTx/>
              <a:latin typeface="Graphik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5134868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1F026874-2E6B-4645-8339-5F17A34A6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80999"/>
            <a:ext cx="7716253" cy="990601"/>
          </a:xfrm>
        </p:spPr>
        <p:txBody>
          <a:bodyPr>
            <a:normAutofit/>
          </a:bodyPr>
          <a:lstStyle/>
          <a:p>
            <a:r>
              <a:rPr lang="en-US" sz="3200" dirty="0"/>
              <a:t>What we found</a:t>
            </a:r>
          </a:p>
        </p:txBody>
      </p:sp>
      <p:sp>
        <p:nvSpPr>
          <p:cNvPr id="7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381002" y="6519009"/>
            <a:ext cx="5714999" cy="2063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Copyright © 2018 Accenture. All rights reserved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1DB5203-FCDE-47F3-918D-3A399506611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F9AC08D-23A9-440E-BCB9-AA1E9877CC38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6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3151" y="2029749"/>
            <a:ext cx="11325450" cy="3000821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457200" lvl="0" indent="-403225" defTabSz="914377"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7E00FF"/>
                </a:solidFill>
              </a:rPr>
              <a:t>Bold Leadership: </a:t>
            </a:r>
            <a:r>
              <a:rPr lang="en-US" sz="2400" dirty="0">
                <a:solidFill>
                  <a:prstClr val="black"/>
                </a:solidFill>
              </a:rPr>
              <a:t>a diverse leadership team that sets, shares and measures equality targets openly</a:t>
            </a:r>
          </a:p>
          <a:p>
            <a:pPr marL="457200" lvl="0" indent="-403225" defTabSz="914377">
              <a:buClr>
                <a:prstClr val="black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prstClr val="black"/>
              </a:solidFill>
            </a:endParaRPr>
          </a:p>
          <a:p>
            <a:pPr marL="457200" lvl="0" indent="-403225" defTabSz="914377"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7E00FF"/>
                </a:solidFill>
                <a:cs typeface="Arial" panose="020B0604020202020204" pitchFamily="34" charset="0"/>
              </a:rPr>
              <a:t>Comprehensive Action: </a:t>
            </a:r>
            <a:r>
              <a:rPr lang="en-US" sz="2400" dirty="0">
                <a:solidFill>
                  <a:prstClr val="black"/>
                </a:solidFill>
              </a:rPr>
              <a:t>policies and practices that are family-friendly, support both genders and are bias-free in attracting and retaining people</a:t>
            </a:r>
          </a:p>
          <a:p>
            <a:pPr marL="53975" lvl="0" defTabSz="914377">
              <a:buClr>
                <a:prstClr val="black"/>
              </a:buClr>
            </a:pPr>
            <a:endParaRPr lang="en-US" sz="2400" dirty="0">
              <a:solidFill>
                <a:prstClr val="black"/>
              </a:solidFill>
            </a:endParaRPr>
          </a:p>
          <a:p>
            <a:pPr marL="457200" lvl="0" indent="-403225" defTabSz="914377"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7E00FF"/>
                </a:solidFill>
                <a:cs typeface="Arial" panose="020B0604020202020204" pitchFamily="34" charset="0"/>
              </a:rPr>
              <a:t>Empowering Environment: </a:t>
            </a:r>
            <a:r>
              <a:rPr lang="en-US" sz="2400" dirty="0">
                <a:cs typeface="Arial" panose="020B0604020202020204" pitchFamily="34" charset="0"/>
              </a:rPr>
              <a:t>one</a:t>
            </a:r>
            <a:r>
              <a:rPr lang="en-US" sz="2400" dirty="0">
                <a:solidFill>
                  <a:srgbClr val="7E00FF"/>
                </a:solidFill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prstClr val="black"/>
                </a:solidFill>
              </a:rPr>
              <a:t>that trusts employees, respects individuals and offers freedom to be creative and to train and work flexibly</a:t>
            </a: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0996" y="1200899"/>
            <a:ext cx="10985207" cy="415498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55561" defTabSz="914377">
              <a:spcBef>
                <a:spcPts val="600"/>
              </a:spcBef>
              <a:spcAft>
                <a:spcPts val="600"/>
              </a:spcAft>
            </a:pPr>
            <a:r>
              <a:rPr lang="en-US" sz="2400" b="1" dirty="0">
                <a:solidFill>
                  <a:prstClr val="black"/>
                </a:solidFill>
              </a:rPr>
              <a:t>Action in three categories changes the culture of the workplace: </a:t>
            </a:r>
          </a:p>
        </p:txBody>
      </p:sp>
    </p:spTree>
    <p:extLst>
      <p:ext uri="{BB962C8B-B14F-4D97-AF65-F5344CB8AC3E}">
        <p14:creationId xmlns:p14="http://schemas.microsoft.com/office/powerpoint/2010/main" val="2484262787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5235B4-294C-4802-ACD7-4ECA42721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shi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3A032F2-D09B-4DB9-90DE-C4E1FB852C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E3552B5-B663-4E0F-BEF0-F5B00A8900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D800ED-CB1B-4EBC-A0D2-2190AF4D887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748646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F06470-5EAC-4822-A7D8-B0D4BF3E9A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88" y="460834"/>
            <a:ext cx="11148567" cy="785553"/>
          </a:xfrm>
        </p:spPr>
        <p:txBody>
          <a:bodyPr/>
          <a:lstStyle/>
          <a:p>
            <a:r>
              <a:rPr lang="en-GB" sz="2667" cap="none">
                <a:solidFill>
                  <a:schemeClr val="tx1"/>
                </a:solidFill>
              </a:rPr>
              <a:t>WOMEN ON THE FAST-TRACK ARE MORE LIKELY TO PARTICIPATE IN WOMEN’S NETWORK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DC80B41-8A03-495A-917B-8184D1AA4E78}"/>
              </a:ext>
            </a:extLst>
          </p:cNvPr>
          <p:cNvSpPr txBox="1"/>
          <p:nvPr/>
        </p:nvSpPr>
        <p:spPr>
          <a:xfrm>
            <a:off x="642740" y="2273764"/>
            <a:ext cx="10856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/>
              <a:t>Do you participate in a women’s network at your organization?</a:t>
            </a:r>
            <a:endParaRPr lang="en-GB" sz="14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0446596-F96E-46C6-81FA-E245D34088A8}"/>
              </a:ext>
            </a:extLst>
          </p:cNvPr>
          <p:cNvSpPr/>
          <p:nvPr/>
        </p:nvSpPr>
        <p:spPr>
          <a:xfrm>
            <a:off x="496588" y="1274796"/>
            <a:ext cx="11362265" cy="63952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600" dirty="0"/>
              <a:t>Fast-track women are </a:t>
            </a:r>
            <a:r>
              <a:rPr lang="pl-PL" sz="1600" dirty="0"/>
              <a:t>almost twice</a:t>
            </a:r>
            <a:r>
              <a:rPr lang="en-US" sz="1600" dirty="0"/>
              <a:t> as likely to participate in a women’s network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pl-PL" sz="1600" dirty="0"/>
              <a:t>81</a:t>
            </a:r>
            <a:r>
              <a:rPr lang="en-US" sz="1600" dirty="0"/>
              <a:t>% of women work at organizations without a women’s network</a:t>
            </a:r>
          </a:p>
        </p:txBody>
      </p:sp>
      <p:sp>
        <p:nvSpPr>
          <p:cNvPr id="19" name="TextBox 65">
            <a:extLst>
              <a:ext uri="{FF2B5EF4-FFF2-40B4-BE49-F238E27FC236}">
                <a16:creationId xmlns:a16="http://schemas.microsoft.com/office/drawing/2014/main" xmlns="" id="{7FBA2753-A224-40EB-A02D-33BD960F4B1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20647" y="6471770"/>
            <a:ext cx="3338204" cy="43736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 defTabSz="162551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 = All women; Fast-track women = </a:t>
            </a:r>
            <a:r>
              <a:rPr lang="pl-PL" sz="1067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8</a:t>
            </a:r>
            <a:r>
              <a:rPr lang="en-GB" sz="1067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defTabSz="162551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xmlns="" id="{6F5E2475-6A74-403B-AA62-9C6F4B6A9F05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6683" y="6477043"/>
            <a:ext cx="1386799" cy="25654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defTabSz="162551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41</a:t>
            </a:r>
            <a:endParaRPr lang="en-GB" sz="120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xmlns="" id="{DD52C9E0-538A-4369-9B18-A7953D6EF6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575456"/>
              </p:ext>
            </p:extLst>
          </p:nvPr>
        </p:nvGraphicFramePr>
        <p:xfrm>
          <a:off x="496588" y="2688032"/>
          <a:ext cx="10922585" cy="3683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Right Brace 13">
            <a:extLst>
              <a:ext uri="{FF2B5EF4-FFF2-40B4-BE49-F238E27FC236}">
                <a16:creationId xmlns:a16="http://schemas.microsoft.com/office/drawing/2014/main" xmlns="" id="{CF7F4C36-A251-4B96-9D14-0AFF474AD28B}"/>
              </a:ext>
            </a:extLst>
          </p:cNvPr>
          <p:cNvSpPr/>
          <p:nvPr/>
        </p:nvSpPr>
        <p:spPr>
          <a:xfrm rot="16200000">
            <a:off x="2735529" y="2171380"/>
            <a:ext cx="210944" cy="1978640"/>
          </a:xfrm>
          <a:prstGeom prst="rightBrace">
            <a:avLst/>
          </a:prstGeom>
          <a:ln w="9525">
            <a:solidFill>
              <a:srgbClr val="7E00FF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5DA5231-BDD6-4634-8041-A0C4139EE0B2}"/>
              </a:ext>
            </a:extLst>
          </p:cNvPr>
          <p:cNvSpPr/>
          <p:nvPr/>
        </p:nvSpPr>
        <p:spPr>
          <a:xfrm>
            <a:off x="2467027" y="2629632"/>
            <a:ext cx="747948" cy="360017"/>
          </a:xfrm>
          <a:prstGeom prst="rect">
            <a:avLst/>
          </a:prstGeom>
          <a:solidFill>
            <a:schemeClr val="accent1"/>
          </a:solidFill>
          <a:ln w="9525">
            <a:solidFill>
              <a:srgbClr val="7E00FF"/>
            </a:solidFill>
            <a:prstDash val="solid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sz="1600">
                <a:solidFill>
                  <a:schemeClr val="bg1"/>
                </a:solidFill>
              </a:rPr>
              <a:t>21%</a:t>
            </a:r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xmlns="" id="{66A5E7B2-1659-4738-A8A6-7E138C147BD7}"/>
              </a:ext>
            </a:extLst>
          </p:cNvPr>
          <p:cNvSpPr/>
          <p:nvPr/>
        </p:nvSpPr>
        <p:spPr>
          <a:xfrm rot="16200000">
            <a:off x="2324915" y="4144475"/>
            <a:ext cx="178734" cy="1125203"/>
          </a:xfrm>
          <a:prstGeom prst="rightBrace">
            <a:avLst/>
          </a:prstGeom>
          <a:ln w="9525">
            <a:solidFill>
              <a:srgbClr val="FF9128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C8D548C3-1CF7-4766-8AA5-A6CA15BFA9F3}"/>
              </a:ext>
            </a:extLst>
          </p:cNvPr>
          <p:cNvSpPr/>
          <p:nvPr/>
        </p:nvSpPr>
        <p:spPr>
          <a:xfrm>
            <a:off x="2046190" y="4257689"/>
            <a:ext cx="736183" cy="360020"/>
          </a:xfrm>
          <a:prstGeom prst="rect">
            <a:avLst/>
          </a:prstGeom>
          <a:solidFill>
            <a:srgbClr val="FF9128"/>
          </a:solidFill>
          <a:ln w="9525">
            <a:noFill/>
            <a:prstDash val="solid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GB" sz="1600" dirty="0"/>
              <a:t>12%</a:t>
            </a:r>
            <a:endParaRPr lang="en-GB" sz="2400" dirty="0"/>
          </a:p>
        </p:txBody>
      </p:sp>
      <p:grpSp>
        <p:nvGrpSpPr>
          <p:cNvPr id="22" name="Group 88">
            <a:extLst>
              <a:ext uri="{FF2B5EF4-FFF2-40B4-BE49-F238E27FC236}">
                <a16:creationId xmlns:a16="http://schemas.microsoft.com/office/drawing/2014/main" xmlns="" id="{343F15AE-57EC-4035-B378-DC0F5D810767}"/>
              </a:ext>
            </a:extLst>
          </p:cNvPr>
          <p:cNvGrpSpPr>
            <a:grpSpLocks noChangeAspect="1"/>
          </p:cNvGrpSpPr>
          <p:nvPr/>
        </p:nvGrpSpPr>
        <p:grpSpPr>
          <a:xfrm>
            <a:off x="11528559" y="2371250"/>
            <a:ext cx="330293" cy="647077"/>
            <a:chOff x="3723" y="1935"/>
            <a:chExt cx="220" cy="431"/>
          </a:xfrm>
          <a:solidFill>
            <a:schemeClr val="tx2"/>
          </a:solidFill>
        </p:grpSpPr>
        <p:sp>
          <p:nvSpPr>
            <p:cNvPr id="23" name="Freeform 89">
              <a:extLst>
                <a:ext uri="{FF2B5EF4-FFF2-40B4-BE49-F238E27FC236}">
                  <a16:creationId xmlns:a16="http://schemas.microsoft.com/office/drawing/2014/main" xmlns="" id="{ECD4D47A-BDEF-4959-A5E3-2C75DFE76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0" y="1935"/>
              <a:ext cx="147" cy="144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9" y="12"/>
                    <a:pt x="12" y="28"/>
                    <a:pt x="12" y="48"/>
                  </a:cubicBezTo>
                  <a:cubicBezTo>
                    <a:pt x="12" y="68"/>
                    <a:pt x="29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8"/>
                    <a:pt x="68" y="12"/>
                    <a:pt x="48" y="12"/>
                  </a:cubicBezTo>
                  <a:close/>
                </a:path>
              </a:pathLst>
            </a:custGeom>
            <a:ln w="9525">
              <a:solidFill>
                <a:schemeClr val="tx2"/>
              </a:solidFill>
            </a:ln>
            <a:ex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90">
              <a:extLst>
                <a:ext uri="{FF2B5EF4-FFF2-40B4-BE49-F238E27FC236}">
                  <a16:creationId xmlns:a16="http://schemas.microsoft.com/office/drawing/2014/main" xmlns="" id="{95F7ABEE-72C5-4AF3-8164-D3A1CCE3A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3" y="2088"/>
              <a:ext cx="220" cy="278"/>
            </a:xfrm>
            <a:custGeom>
              <a:avLst/>
              <a:gdLst>
                <a:gd name="T0" fmla="*/ 96 w 144"/>
                <a:gd name="T1" fmla="*/ 186 h 186"/>
                <a:gd name="T2" fmla="*/ 48 w 144"/>
                <a:gd name="T3" fmla="*/ 186 h 186"/>
                <a:gd name="T4" fmla="*/ 42 w 144"/>
                <a:gd name="T5" fmla="*/ 180 h 186"/>
                <a:gd name="T6" fmla="*/ 42 w 144"/>
                <a:gd name="T7" fmla="*/ 126 h 186"/>
                <a:gd name="T8" fmla="*/ 6 w 144"/>
                <a:gd name="T9" fmla="*/ 126 h 186"/>
                <a:gd name="T10" fmla="*/ 0 w 144"/>
                <a:gd name="T11" fmla="*/ 120 h 186"/>
                <a:gd name="T12" fmla="*/ 72 w 144"/>
                <a:gd name="T13" fmla="*/ 0 h 186"/>
                <a:gd name="T14" fmla="*/ 144 w 144"/>
                <a:gd name="T15" fmla="*/ 120 h 186"/>
                <a:gd name="T16" fmla="*/ 138 w 144"/>
                <a:gd name="T17" fmla="*/ 126 h 186"/>
                <a:gd name="T18" fmla="*/ 102 w 144"/>
                <a:gd name="T19" fmla="*/ 126 h 186"/>
                <a:gd name="T20" fmla="*/ 102 w 144"/>
                <a:gd name="T21" fmla="*/ 180 h 186"/>
                <a:gd name="T22" fmla="*/ 96 w 144"/>
                <a:gd name="T23" fmla="*/ 186 h 186"/>
                <a:gd name="T24" fmla="*/ 54 w 144"/>
                <a:gd name="T25" fmla="*/ 174 h 186"/>
                <a:gd name="T26" fmla="*/ 90 w 144"/>
                <a:gd name="T27" fmla="*/ 174 h 186"/>
                <a:gd name="T28" fmla="*/ 90 w 144"/>
                <a:gd name="T29" fmla="*/ 120 h 186"/>
                <a:gd name="T30" fmla="*/ 96 w 144"/>
                <a:gd name="T31" fmla="*/ 114 h 186"/>
                <a:gd name="T32" fmla="*/ 132 w 144"/>
                <a:gd name="T33" fmla="*/ 114 h 186"/>
                <a:gd name="T34" fmla="*/ 72 w 144"/>
                <a:gd name="T35" fmla="*/ 12 h 186"/>
                <a:gd name="T36" fmla="*/ 13 w 144"/>
                <a:gd name="T37" fmla="*/ 114 h 186"/>
                <a:gd name="T38" fmla="*/ 48 w 144"/>
                <a:gd name="T39" fmla="*/ 114 h 186"/>
                <a:gd name="T40" fmla="*/ 54 w 144"/>
                <a:gd name="T41" fmla="*/ 120 h 186"/>
                <a:gd name="T42" fmla="*/ 54 w 144"/>
                <a:gd name="T43" fmla="*/ 17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" h="186">
                  <a:moveTo>
                    <a:pt x="96" y="186"/>
                  </a:moveTo>
                  <a:cubicBezTo>
                    <a:pt x="48" y="186"/>
                    <a:pt x="48" y="186"/>
                    <a:pt x="48" y="186"/>
                  </a:cubicBezTo>
                  <a:cubicBezTo>
                    <a:pt x="45" y="186"/>
                    <a:pt x="42" y="184"/>
                    <a:pt x="42" y="180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3" y="126"/>
                    <a:pt x="0" y="124"/>
                    <a:pt x="0" y="120"/>
                  </a:cubicBezTo>
                  <a:cubicBezTo>
                    <a:pt x="0" y="55"/>
                    <a:pt x="33" y="0"/>
                    <a:pt x="72" y="0"/>
                  </a:cubicBezTo>
                  <a:cubicBezTo>
                    <a:pt x="111" y="0"/>
                    <a:pt x="144" y="55"/>
                    <a:pt x="144" y="120"/>
                  </a:cubicBezTo>
                  <a:cubicBezTo>
                    <a:pt x="144" y="124"/>
                    <a:pt x="142" y="126"/>
                    <a:pt x="138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80"/>
                    <a:pt x="102" y="180"/>
                    <a:pt x="102" y="180"/>
                  </a:cubicBezTo>
                  <a:cubicBezTo>
                    <a:pt x="102" y="184"/>
                    <a:pt x="100" y="186"/>
                    <a:pt x="96" y="186"/>
                  </a:cubicBezTo>
                  <a:close/>
                  <a:moveTo>
                    <a:pt x="54" y="174"/>
                  </a:moveTo>
                  <a:cubicBezTo>
                    <a:pt x="90" y="174"/>
                    <a:pt x="90" y="174"/>
                    <a:pt x="90" y="174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0" y="117"/>
                    <a:pt x="93" y="114"/>
                    <a:pt x="96" y="114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0" y="59"/>
                    <a:pt x="103" y="12"/>
                    <a:pt x="72" y="12"/>
                  </a:cubicBezTo>
                  <a:cubicBezTo>
                    <a:pt x="42" y="12"/>
                    <a:pt x="14" y="59"/>
                    <a:pt x="13" y="114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52" y="114"/>
                    <a:pt x="54" y="117"/>
                    <a:pt x="54" y="120"/>
                  </a:cubicBezTo>
                  <a:lnTo>
                    <a:pt x="54" y="174"/>
                  </a:lnTo>
                  <a:close/>
                </a:path>
              </a:pathLst>
            </a:custGeom>
            <a:ln w="9525">
              <a:solidFill>
                <a:schemeClr val="tx2"/>
              </a:solidFill>
            </a:ln>
            <a:ex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372894297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5235B4-294C-4802-ACD7-4ECA42721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onsorship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3A032F2-D09B-4DB9-90DE-C4E1FB852C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pyright © 2018 Accenture. All rights reserved.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E3552B5-B663-4E0F-BEF0-F5B00A89002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7D800ED-CB1B-4EBC-A0D2-2190AF4D887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923664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7.08.21"/>
  <p:tag name="AS_TITLE" val="Aspose.Slides for .NET 4.0 Client Profile"/>
  <p:tag name="AS_VERSION" val="17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rmVhVUEOrCJ.mV6aA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rmVhVUEOrCJ.mV6aA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rmVhVUEOrCJ.mV6aA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rmVhVUEOrCJ.mV6aA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rmVhVUEOrCJ.mV6aA2A"/>
</p:tagLst>
</file>

<file path=ppt/theme/theme1.xml><?xml version="1.0" encoding="utf-8"?>
<a:theme xmlns:a="http://schemas.openxmlformats.org/drawingml/2006/main" name="Content Layouts">
  <a:themeElements>
    <a:clrScheme name="Accenture MasterBrand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7E00FF"/>
      </a:accent1>
      <a:accent2>
        <a:srgbClr val="FF0000"/>
      </a:accent2>
      <a:accent3>
        <a:srgbClr val="2800FF"/>
      </a:accent3>
      <a:accent4>
        <a:srgbClr val="00BAFF"/>
      </a:accent4>
      <a:accent5>
        <a:srgbClr val="00FF7D"/>
      </a:accent5>
      <a:accent6>
        <a:srgbClr val="FFEA00"/>
      </a:accent6>
      <a:hlink>
        <a:srgbClr val="2800FF"/>
      </a:hlink>
      <a:folHlink>
        <a:srgbClr val="7E00FF"/>
      </a:folHlink>
    </a:clrScheme>
    <a:fontScheme name="Accenture_Graphik">
      <a:majorFont>
        <a:latin typeface="Graphik"/>
        <a:ea typeface="Arial"/>
        <a:cs typeface="Arial"/>
      </a:majorFont>
      <a:minorFont>
        <a:latin typeface="Graphik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xmlns="" name="Acc_Template_Graphik_v2" id="{2D45DE15-391D-42D9-AF53-B02CAD431F5E}" vid="{B20C05C2-E4F9-413F-B83B-EFE7D88550AE}"/>
    </a:ext>
  </a:extLst>
</a:theme>
</file>

<file path=ppt/theme/theme2.xml><?xml version="1.0" encoding="utf-8"?>
<a:theme xmlns:a="http://schemas.openxmlformats.org/drawingml/2006/main" name="AI Master">
  <a:themeElements>
    <a:clrScheme name="Accenture Women's Network 2016 1">
      <a:dk1>
        <a:srgbClr val="000000"/>
      </a:dk1>
      <a:lt1>
        <a:srgbClr val="FFFFFF"/>
      </a:lt1>
      <a:dk2>
        <a:srgbClr val="551155"/>
      </a:dk2>
      <a:lt2>
        <a:srgbClr val="FFFFFF"/>
      </a:lt2>
      <a:accent1>
        <a:srgbClr val="551155"/>
      </a:accent1>
      <a:accent2>
        <a:srgbClr val="FF9900"/>
      </a:accent2>
      <a:accent3>
        <a:srgbClr val="FFDD99"/>
      </a:accent3>
      <a:accent4>
        <a:srgbClr val="887799"/>
      </a:accent4>
      <a:accent5>
        <a:srgbClr val="DD4411"/>
      </a:accent5>
      <a:accent6>
        <a:srgbClr val="EEAA55"/>
      </a:accent6>
      <a:hlink>
        <a:srgbClr val="666666"/>
      </a:hlink>
      <a:folHlink>
        <a:srgbClr val="778888"/>
      </a:folHlink>
    </a:clrScheme>
    <a:fontScheme name="Office Classic 2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 w="19050">
          <a:noFill/>
          <a:prstDash val="sysDot"/>
          <a:headEnd type="none" w="med" len="med"/>
          <a:tailEnd type="oval" w="med" len="med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bg1"/>
          </a:solidFill>
          <a:prstDash val="dot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C7E82836-3C31-4F02-8048-AE21F34BA326}" vid="{9579DB22-905C-49D7-AC0D-BFB0D2E8915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WD 2018 Theme1</Template>
  <TotalTime>1106</TotalTime>
  <Words>741</Words>
  <Application>Microsoft Office PowerPoint</Application>
  <PresentationFormat>Custom</PresentationFormat>
  <Paragraphs>151</Paragraphs>
  <Slides>16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Content Layouts</vt:lpstr>
      <vt:lpstr>AI Master</vt:lpstr>
      <vt:lpstr>think-cell Slide</vt:lpstr>
      <vt:lpstr>PowerPoint Presentation</vt:lpstr>
      <vt:lpstr>Topics today</vt:lpstr>
      <vt:lpstr>PowerPoint Presentation</vt:lpstr>
      <vt:lpstr>PowerPoint Presentation</vt:lpstr>
      <vt:lpstr>PowerPoint Presentation</vt:lpstr>
      <vt:lpstr>What we found</vt:lpstr>
      <vt:lpstr>mentorship</vt:lpstr>
      <vt:lpstr>WOMEN ON THE FAST-TRACK ARE MORE LIKELY TO PARTICIPATE IN WOMEN’S NETWORKS</vt:lpstr>
      <vt:lpstr>sponsorship</vt:lpstr>
      <vt:lpstr>PowerPoint Presentation</vt:lpstr>
      <vt:lpstr>Impact of digital</vt:lpstr>
      <vt:lpstr>Digital fluency accelerates closing the gender gap</vt:lpstr>
      <vt:lpstr>unconventional networks</vt:lpstr>
      <vt:lpstr>LEADERS EMBRACE PARTNERSHIPS</vt:lpstr>
      <vt:lpstr>Interconnected and global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ral, Piotr</dc:creator>
  <cp:lastModifiedBy>Windows User</cp:lastModifiedBy>
  <cp:revision>159</cp:revision>
  <cp:lastPrinted>2018-03-01T19:18:12Z</cp:lastPrinted>
  <dcterms:created xsi:type="dcterms:W3CDTF">2014-04-30T10:51:48Z</dcterms:created>
  <dcterms:modified xsi:type="dcterms:W3CDTF">2018-03-08T18:53:58Z</dcterms:modified>
</cp:coreProperties>
</file>